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6" r:id="rId4"/>
  </p:sldMasterIdLst>
  <p:notesMasterIdLst>
    <p:notesMasterId r:id="rId14"/>
  </p:notesMasterIdLst>
  <p:sldIdLst>
    <p:sldId id="413" r:id="rId5"/>
    <p:sldId id="2145709505" r:id="rId6"/>
    <p:sldId id="305" r:id="rId7"/>
    <p:sldId id="2145709508" r:id="rId8"/>
    <p:sldId id="2145709509" r:id="rId9"/>
    <p:sldId id="2145709510" r:id="rId10"/>
    <p:sldId id="2145709511" r:id="rId11"/>
    <p:sldId id="2145709504" r:id="rId12"/>
    <p:sldId id="2145709489" r:id="rId13"/>
  </p:sldIdLst>
  <p:sldSz cx="12193588" cy="6858000"/>
  <p:notesSz cx="11874500" cy="7562850"/>
  <p:embeddedFontLst>
    <p:embeddedFont>
      <p:font typeface="AP Type Pro Display Bold" panose="020B0604020202020204" charset="0"/>
      <p:bold r:id="rId15"/>
      <p:italic r:id="rId16"/>
      <p:boldItalic r:id="rId17"/>
    </p:embeddedFont>
    <p:embeddedFont>
      <p:font typeface="AP Type Pro Display Regular" panose="020B0604020202020204" charset="0"/>
      <p:regular r:id="rId18"/>
      <p:italic r:id="rId19"/>
    </p:embeddedFont>
    <p:embeddedFont>
      <p:font typeface="AP Type Pro Text" panose="020B0604020202020204" charset="0"/>
      <p:regular r:id="rId20"/>
      <p:bold r:id="rId21"/>
      <p:italic r:id="rId22"/>
      <p:boldItalic r:id="rId23"/>
    </p:embeddedFont>
    <p:embeddedFont>
      <p:font typeface="AP Type Pro Text Light" panose="020B0604020202020204" charset="0"/>
      <p:regular r:id="rId24"/>
      <p:italic r:id="rId25"/>
    </p:embeddedFont>
    <p:embeddedFont>
      <p:font typeface="AP Type Pro Text Medium" panose="020B0604020202020204" charset="0"/>
      <p:regular r:id="rId26"/>
      <p:italic r:id="rId27"/>
    </p:embeddedFont>
    <p:embeddedFont>
      <p:font typeface="AP Type Text" panose="020B0604020202020204" charset="0"/>
      <p:regular r:id="rId28"/>
      <p:bold r:id="rId29"/>
      <p:italic r:id="rId30"/>
      <p:boldItalic r:id="rId31"/>
    </p:embeddedFont>
    <p:embeddedFont>
      <p:font typeface="AP Type Text Bold" panose="020B0604020202020204" charset="0"/>
      <p:bold r:id="rId32"/>
    </p:embeddedFont>
    <p:embeddedFont>
      <p:font typeface="Roboto" panose="02000000000000000000" pitchFamily="2" charset="0"/>
      <p:regular r:id="rId33"/>
      <p:bold r:id="rId34"/>
      <p:italic r:id="rId35"/>
      <p:boldItalic r:id="rId36"/>
    </p:embeddedFont>
  </p:embeddedFontLst>
  <p:defaultTextStyle>
    <a:defPPr>
      <a:defRPr kern="0"/>
    </a:defPPr>
  </p:defaultTextStyle>
  <p:extLst>
    <p:ext uri="{521415D9-36F7-43E2-AB2F-B90AF26B5E84}">
      <p14:sectionLst xmlns:p14="http://schemas.microsoft.com/office/powerpoint/2010/main">
        <p14:section name="Default Section" id="{4944E654-1255-4652-A011-7874D17A1F24}">
          <p14:sldIdLst>
            <p14:sldId id="413"/>
          </p14:sldIdLst>
        </p14:section>
        <p14:section name="Default Section" id="{BAC811C9-7E46-4D30-9BAF-087AF534586F}">
          <p14:sldIdLst>
            <p14:sldId id="2145709505"/>
            <p14:sldId id="305"/>
            <p14:sldId id="2145709508"/>
            <p14:sldId id="2145709509"/>
            <p14:sldId id="2145709510"/>
            <p14:sldId id="2145709511"/>
            <p14:sldId id="2145709504"/>
            <p14:sldId id="214570948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369" userDrawn="1">
          <p15:clr>
            <a:srgbClr val="A4A3A4"/>
          </p15:clr>
        </p15:guide>
        <p15:guide id="2" pos="2012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072A131-8761-2937-D073-8C5EA8BB41CB}" name="YOUNAS, Manan" initials="" userId="S::manan.younas2@auspost.com.au::97005d77-156f-41a0-af23-b2b211360eb3" providerId="AD"/>
  <p188:author id="{532A3547-DCC5-6894-491E-3275B0C8486B}" name="NGO, Phillip" initials="" userId="S::phillip.ngo3@auspost.com.au::dc8feb71-e327-4810-937e-9f21ebba8080" providerId="AD"/>
  <p188:author id="{2D3056CD-A82C-DA5B-791C-845EFE253708}" name="THOMPSON, Lauren" initials="TL" userId="S::lauren.thompson12@auspost.com.au::4cee4589-44b0-4317-b2e8-edce53bff84c" providerId="AD"/>
  <p188:author id="{78D12CD5-F279-8266-C663-35C2B3346B32}" name="Yip, Rose" initials="RY" userId="S::rose.yip@auspost.com.au::c8b2182d-ea89-4f4f-a028-89ad78baec4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7077D"/>
    <a:srgbClr val="F1E2E3"/>
    <a:srgbClr val="E66256"/>
    <a:srgbClr val="F7CAD8"/>
    <a:srgbClr val="F198B6"/>
    <a:srgbClr val="EB6698"/>
    <a:srgbClr val="DD1A32"/>
    <a:srgbClr val="E5F2F7"/>
    <a:srgbClr val="007BAB"/>
    <a:srgbClr val="C6D9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2" d="100"/>
          <a:sy n="72" d="100"/>
        </p:scale>
        <p:origin x="998" y="53"/>
      </p:cViewPr>
      <p:guideLst>
        <p:guide orient="horz" pos="2369"/>
        <p:guide pos="201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font" Target="fonts/font4.fntdata"/><Relationship Id="rId26" Type="http://schemas.openxmlformats.org/officeDocument/2006/relationships/font" Target="fonts/font12.fntdata"/><Relationship Id="rId39" Type="http://schemas.openxmlformats.org/officeDocument/2006/relationships/theme" Target="theme/theme1.xml"/><Relationship Id="rId21" Type="http://schemas.openxmlformats.org/officeDocument/2006/relationships/font" Target="fonts/font7.fntdata"/><Relationship Id="rId34" Type="http://schemas.openxmlformats.org/officeDocument/2006/relationships/font" Target="fonts/font20.fntdata"/><Relationship Id="rId42" Type="http://schemas.microsoft.com/office/2018/10/relationships/authors" Target="author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font" Target="fonts/font15.fntdata"/><Relationship Id="rId41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10.fntdata"/><Relationship Id="rId32" Type="http://schemas.openxmlformats.org/officeDocument/2006/relationships/font" Target="fonts/font18.fntdata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font" Target="fonts/font14.fntdata"/><Relationship Id="rId36" Type="http://schemas.openxmlformats.org/officeDocument/2006/relationships/font" Target="fonts/font22.fntdata"/><Relationship Id="rId10" Type="http://schemas.openxmlformats.org/officeDocument/2006/relationships/slide" Target="slides/slide6.xml"/><Relationship Id="rId19" Type="http://schemas.openxmlformats.org/officeDocument/2006/relationships/font" Target="fonts/font5.fntdata"/><Relationship Id="rId31" Type="http://schemas.openxmlformats.org/officeDocument/2006/relationships/font" Target="fonts/font17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8.fntdata"/><Relationship Id="rId27" Type="http://schemas.openxmlformats.org/officeDocument/2006/relationships/font" Target="fonts/font13.fntdata"/><Relationship Id="rId30" Type="http://schemas.openxmlformats.org/officeDocument/2006/relationships/font" Target="fonts/font16.fntdata"/><Relationship Id="rId35" Type="http://schemas.openxmlformats.org/officeDocument/2006/relationships/font" Target="fonts/font21.fntdata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font" Target="fonts/font3.fntdata"/><Relationship Id="rId25" Type="http://schemas.openxmlformats.org/officeDocument/2006/relationships/font" Target="fonts/font11.fntdata"/><Relationship Id="rId33" Type="http://schemas.openxmlformats.org/officeDocument/2006/relationships/font" Target="fonts/font19.fntdata"/><Relationship Id="rId38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AGHER, Gemma" userId="S::gemma.meagher@auspost.com.au::f1391b07-e037-40f2-bf58-5443e229485f" providerId="AD" clId="Web-{D7C3ACFC-5BDD-11B0-854B-02C3651EF697}"/>
    <pc:docChg chg="addSld delSld modSld sldOrd modSection">
      <pc:chgData name="MEAGHER, Gemma" userId="S::gemma.meagher@auspost.com.au::f1391b07-e037-40f2-bf58-5443e229485f" providerId="AD" clId="Web-{D7C3ACFC-5BDD-11B0-854B-02C3651EF697}" dt="2024-04-12T09:07:04.481" v="42"/>
      <pc:docMkLst>
        <pc:docMk/>
      </pc:docMkLst>
      <pc:sldChg chg="modSp">
        <pc:chgData name="MEAGHER, Gemma" userId="S::gemma.meagher@auspost.com.au::f1391b07-e037-40f2-bf58-5443e229485f" providerId="AD" clId="Web-{D7C3ACFC-5BDD-11B0-854B-02C3651EF697}" dt="2024-04-10T06:20:51.898" v="14" actId="20577"/>
        <pc:sldMkLst>
          <pc:docMk/>
          <pc:sldMk cId="3438602576" sldId="413"/>
        </pc:sldMkLst>
        <pc:spChg chg="mod">
          <ac:chgData name="MEAGHER, Gemma" userId="S::gemma.meagher@auspost.com.au::f1391b07-e037-40f2-bf58-5443e229485f" providerId="AD" clId="Web-{D7C3ACFC-5BDD-11B0-854B-02C3651EF697}" dt="2024-04-10T06:20:51.898" v="14" actId="20577"/>
          <ac:spMkLst>
            <pc:docMk/>
            <pc:sldMk cId="3438602576" sldId="413"/>
            <ac:spMk id="2" creationId="{00000000-0000-0000-0000-000000000000}"/>
          </ac:spMkLst>
        </pc:spChg>
      </pc:sldChg>
      <pc:sldChg chg="ord">
        <pc:chgData name="MEAGHER, Gemma" userId="S::gemma.meagher@auspost.com.au::f1391b07-e037-40f2-bf58-5443e229485f" providerId="AD" clId="Web-{D7C3ACFC-5BDD-11B0-854B-02C3651EF697}" dt="2024-04-10T05:59:13.583" v="0"/>
        <pc:sldMkLst>
          <pc:docMk/>
          <pc:sldMk cId="791317467" sldId="2145709509"/>
        </pc:sldMkLst>
      </pc:sldChg>
      <pc:sldChg chg="add del replId">
        <pc:chgData name="MEAGHER, Gemma" userId="S::gemma.meagher@auspost.com.au::f1391b07-e037-40f2-bf58-5443e229485f" providerId="AD" clId="Web-{D7C3ACFC-5BDD-11B0-854B-02C3651EF697}" dt="2024-04-12T09:06:26.824" v="19"/>
        <pc:sldMkLst>
          <pc:docMk/>
          <pc:sldMk cId="56442109" sldId="2145709512"/>
        </pc:sldMkLst>
      </pc:sldChg>
      <pc:sldChg chg="addSp modSp new del mod modClrScheme chgLayout">
        <pc:chgData name="MEAGHER, Gemma" userId="S::gemma.meagher@auspost.com.au::f1391b07-e037-40f2-bf58-5443e229485f" providerId="AD" clId="Web-{D7C3ACFC-5BDD-11B0-854B-02C3651EF697}" dt="2024-04-12T09:05:31.979" v="17"/>
        <pc:sldMkLst>
          <pc:docMk/>
          <pc:sldMk cId="3212193276" sldId="2145709512"/>
        </pc:sldMkLst>
        <pc:spChg chg="mod ord">
          <ac:chgData name="MEAGHER, Gemma" userId="S::gemma.meagher@auspost.com.au::f1391b07-e037-40f2-bf58-5443e229485f" providerId="AD" clId="Web-{D7C3ACFC-5BDD-11B0-854B-02C3651EF697}" dt="2024-04-12T09:05:16.713" v="16"/>
          <ac:spMkLst>
            <pc:docMk/>
            <pc:sldMk cId="3212193276" sldId="2145709512"/>
            <ac:spMk id="2" creationId="{3D434FFB-4874-D343-8A16-0A833881E096}"/>
          </ac:spMkLst>
        </pc:spChg>
        <pc:spChg chg="mod ord">
          <ac:chgData name="MEAGHER, Gemma" userId="S::gemma.meagher@auspost.com.au::f1391b07-e037-40f2-bf58-5443e229485f" providerId="AD" clId="Web-{D7C3ACFC-5BDD-11B0-854B-02C3651EF697}" dt="2024-04-12T09:05:16.713" v="16"/>
          <ac:spMkLst>
            <pc:docMk/>
            <pc:sldMk cId="3212193276" sldId="2145709512"/>
            <ac:spMk id="3" creationId="{ABE0CEBE-09A8-C541-018D-B8B848597CC9}"/>
          </ac:spMkLst>
        </pc:spChg>
        <pc:spChg chg="mod ord">
          <ac:chgData name="MEAGHER, Gemma" userId="S::gemma.meagher@auspost.com.au::f1391b07-e037-40f2-bf58-5443e229485f" providerId="AD" clId="Web-{D7C3ACFC-5BDD-11B0-854B-02C3651EF697}" dt="2024-04-12T09:05:16.713" v="16"/>
          <ac:spMkLst>
            <pc:docMk/>
            <pc:sldMk cId="3212193276" sldId="2145709512"/>
            <ac:spMk id="4" creationId="{CB85BFBD-6664-20AA-55AA-A55E2D847EAA}"/>
          </ac:spMkLst>
        </pc:spChg>
        <pc:spChg chg="add mod ord">
          <ac:chgData name="MEAGHER, Gemma" userId="S::gemma.meagher@auspost.com.au::f1391b07-e037-40f2-bf58-5443e229485f" providerId="AD" clId="Web-{D7C3ACFC-5BDD-11B0-854B-02C3651EF697}" dt="2024-04-12T09:05:16.713" v="16"/>
          <ac:spMkLst>
            <pc:docMk/>
            <pc:sldMk cId="3212193276" sldId="2145709512"/>
            <ac:spMk id="5" creationId="{2187DC32-AA53-B3A7-BA20-00F8C63FF712}"/>
          </ac:spMkLst>
        </pc:spChg>
      </pc:sldChg>
      <pc:sldChg chg="addSp delSp modSp new del mod modClrScheme chgLayout">
        <pc:chgData name="MEAGHER, Gemma" userId="S::gemma.meagher@auspost.com.au::f1391b07-e037-40f2-bf58-5443e229485f" providerId="AD" clId="Web-{D7C3ACFC-5BDD-11B0-854B-02C3651EF697}" dt="2024-04-12T09:07:04.481" v="42"/>
        <pc:sldMkLst>
          <pc:docMk/>
          <pc:sldMk cId="4080252402" sldId="2145709512"/>
        </pc:sldMkLst>
        <pc:spChg chg="del">
          <ac:chgData name="MEAGHER, Gemma" userId="S::gemma.meagher@auspost.com.au::f1391b07-e037-40f2-bf58-5443e229485f" providerId="AD" clId="Web-{D7C3ACFC-5BDD-11B0-854B-02C3651EF697}" dt="2024-04-12T09:06:44.965" v="21"/>
          <ac:spMkLst>
            <pc:docMk/>
            <pc:sldMk cId="4080252402" sldId="2145709512"/>
            <ac:spMk id="2" creationId="{007717BB-FDDA-FC8B-8763-4E6A88AEA5ED}"/>
          </ac:spMkLst>
        </pc:spChg>
        <pc:spChg chg="del">
          <ac:chgData name="MEAGHER, Gemma" userId="S::gemma.meagher@auspost.com.au::f1391b07-e037-40f2-bf58-5443e229485f" providerId="AD" clId="Web-{D7C3ACFC-5BDD-11B0-854B-02C3651EF697}" dt="2024-04-12T09:06:44.965" v="21"/>
          <ac:spMkLst>
            <pc:docMk/>
            <pc:sldMk cId="4080252402" sldId="2145709512"/>
            <ac:spMk id="3" creationId="{E78D23D6-17FA-76BC-1B5C-9E94045A73CE}"/>
          </ac:spMkLst>
        </pc:spChg>
        <pc:spChg chg="mod">
          <ac:chgData name="MEAGHER, Gemma" userId="S::gemma.meagher@auspost.com.au::f1391b07-e037-40f2-bf58-5443e229485f" providerId="AD" clId="Web-{D7C3ACFC-5BDD-11B0-854B-02C3651EF697}" dt="2024-04-12T09:06:44.965" v="21"/>
          <ac:spMkLst>
            <pc:docMk/>
            <pc:sldMk cId="4080252402" sldId="2145709512"/>
            <ac:spMk id="4" creationId="{AC339E6A-5826-B9BA-1562-B64E36D93B29}"/>
          </ac:spMkLst>
        </pc:spChg>
        <pc:spChg chg="mod ord">
          <ac:chgData name="MEAGHER, Gemma" userId="S::gemma.meagher@auspost.com.au::f1391b07-e037-40f2-bf58-5443e229485f" providerId="AD" clId="Web-{D7C3ACFC-5BDD-11B0-854B-02C3651EF697}" dt="2024-04-12T09:06:44.965" v="21"/>
          <ac:spMkLst>
            <pc:docMk/>
            <pc:sldMk cId="4080252402" sldId="2145709512"/>
            <ac:spMk id="5" creationId="{18EA0ED3-7CCF-C214-8E88-DBA06A23ABC3}"/>
          </ac:spMkLst>
        </pc:spChg>
        <pc:spChg chg="mod">
          <ac:chgData name="MEAGHER, Gemma" userId="S::gemma.meagher@auspost.com.au::f1391b07-e037-40f2-bf58-5443e229485f" providerId="AD" clId="Web-{D7C3ACFC-5BDD-11B0-854B-02C3651EF697}" dt="2024-04-12T09:06:44.965" v="21"/>
          <ac:spMkLst>
            <pc:docMk/>
            <pc:sldMk cId="4080252402" sldId="2145709512"/>
            <ac:spMk id="6" creationId="{A5DD61F2-9D5D-78AA-E889-CD0A8B3332EE}"/>
          </ac:spMkLst>
        </pc:spChg>
        <pc:spChg chg="add mod">
          <ac:chgData name="MEAGHER, Gemma" userId="S::gemma.meagher@auspost.com.au::f1391b07-e037-40f2-bf58-5443e229485f" providerId="AD" clId="Web-{D7C3ACFC-5BDD-11B0-854B-02C3651EF697}" dt="2024-04-12T09:06:44.965" v="21"/>
          <ac:spMkLst>
            <pc:docMk/>
            <pc:sldMk cId="4080252402" sldId="2145709512"/>
            <ac:spMk id="11" creationId="{FACF0B32-AD09-C893-5CA3-8137E5739F5F}"/>
          </ac:spMkLst>
        </pc:spChg>
        <pc:spChg chg="add mod">
          <ac:chgData name="MEAGHER, Gemma" userId="S::gemma.meagher@auspost.com.au::f1391b07-e037-40f2-bf58-5443e229485f" providerId="AD" clId="Web-{D7C3ACFC-5BDD-11B0-854B-02C3651EF697}" dt="2024-04-12T09:06:57.919" v="41" actId="20577"/>
          <ac:spMkLst>
            <pc:docMk/>
            <pc:sldMk cId="4080252402" sldId="2145709512"/>
            <ac:spMk id="13" creationId="{F5BF7C90-F155-D189-F9CF-15D76A4DDF2B}"/>
          </ac:spMkLst>
        </pc:spChg>
      </pc:sldChg>
    </pc:docChg>
  </pc:docChgLst>
  <pc:docChgLst>
    <pc:chgData name="MEAGHER, Gemma" userId="S::gemma.meagher@auspost.com.au::f1391b07-e037-40f2-bf58-5443e229485f" providerId="AD" clId="Web-{B6CB7D50-0849-5818-3E3C-22BFE853F8CA}"/>
    <pc:docChg chg="sldOrd">
      <pc:chgData name="MEAGHER, Gemma" userId="S::gemma.meagher@auspost.com.au::f1391b07-e037-40f2-bf58-5443e229485f" providerId="AD" clId="Web-{B6CB7D50-0849-5818-3E3C-22BFE853F8CA}" dt="2024-04-12T10:21:29.648" v="1"/>
      <pc:docMkLst>
        <pc:docMk/>
      </pc:docMkLst>
      <pc:sldChg chg="ord">
        <pc:chgData name="MEAGHER, Gemma" userId="S::gemma.meagher@auspost.com.au::f1391b07-e037-40f2-bf58-5443e229485f" providerId="AD" clId="Web-{B6CB7D50-0849-5818-3E3C-22BFE853F8CA}" dt="2024-04-12T10:21:29.648" v="1"/>
        <pc:sldMkLst>
          <pc:docMk/>
          <pc:sldMk cId="700576794" sldId="305"/>
        </pc:sldMkLst>
      </pc:sldChg>
    </pc:docChg>
  </pc:docChgLst>
  <pc:docChgLst>
    <pc:chgData name="MEAGHER, Gemma" userId="S::gemma.meagher@auspost.com.au::f1391b07-e037-40f2-bf58-5443e229485f" providerId="AD" clId="Web-{CD462F4D-9681-215D-1AA4-D3DBFF85425F}"/>
    <pc:docChg chg="delSld modSection">
      <pc:chgData name="MEAGHER, Gemma" userId="S::gemma.meagher@auspost.com.au::f1391b07-e037-40f2-bf58-5443e229485f" providerId="AD" clId="Web-{CD462F4D-9681-215D-1AA4-D3DBFF85425F}" dt="2024-04-12T12:35:11.461" v="1"/>
      <pc:docMkLst>
        <pc:docMk/>
      </pc:docMkLst>
      <pc:sldChg chg="del">
        <pc:chgData name="MEAGHER, Gemma" userId="S::gemma.meagher@auspost.com.au::f1391b07-e037-40f2-bf58-5443e229485f" providerId="AD" clId="Web-{CD462F4D-9681-215D-1AA4-D3DBFF85425F}" dt="2024-04-12T12:35:05.508" v="0"/>
        <pc:sldMkLst>
          <pc:docMk/>
          <pc:sldMk cId="1726382797" sldId="2145709506"/>
        </pc:sldMkLst>
      </pc:sldChg>
      <pc:sldChg chg="del">
        <pc:chgData name="MEAGHER, Gemma" userId="S::gemma.meagher@auspost.com.au::f1391b07-e037-40f2-bf58-5443e229485f" providerId="AD" clId="Web-{CD462F4D-9681-215D-1AA4-D3DBFF85425F}" dt="2024-04-12T12:35:11.461" v="1"/>
        <pc:sldMkLst>
          <pc:docMk/>
          <pc:sldMk cId="1444678996" sldId="2145709507"/>
        </pc:sldMkLst>
      </pc:sldChg>
    </pc:docChg>
  </pc:docChgLst>
  <pc:docChgLst>
    <pc:chgData name="Nathalie  Rosette-Barber" userId="beb0a41c-de4e-4f1c-855a-d2477caf9e45" providerId="ADAL" clId="{06F01A83-C1B7-4DA3-9581-953BB7376D9A}"/>
    <pc:docChg chg="custSel modSld">
      <pc:chgData name="Nathalie  Rosette-Barber" userId="beb0a41c-de4e-4f1c-855a-d2477caf9e45" providerId="ADAL" clId="{06F01A83-C1B7-4DA3-9581-953BB7376D9A}" dt="2024-04-16T03:36:57.336" v="0" actId="478"/>
      <pc:docMkLst>
        <pc:docMk/>
      </pc:docMkLst>
      <pc:sldChg chg="delSp mod">
        <pc:chgData name="Nathalie  Rosette-Barber" userId="beb0a41c-de4e-4f1c-855a-d2477caf9e45" providerId="ADAL" clId="{06F01A83-C1B7-4DA3-9581-953BB7376D9A}" dt="2024-04-16T03:36:57.336" v="0" actId="478"/>
        <pc:sldMkLst>
          <pc:docMk/>
          <pc:sldMk cId="3438602576" sldId="413"/>
        </pc:sldMkLst>
        <pc:spChg chg="del">
          <ac:chgData name="Nathalie  Rosette-Barber" userId="beb0a41c-de4e-4f1c-855a-d2477caf9e45" providerId="ADAL" clId="{06F01A83-C1B7-4DA3-9581-953BB7376D9A}" dt="2024-04-16T03:36:57.336" v="0" actId="478"/>
          <ac:spMkLst>
            <pc:docMk/>
            <pc:sldMk cId="3438602576" sldId="413"/>
            <ac:spMk id="7" creationId="{33ABECBA-DDBD-2C90-E576-B93BBD1D7BD9}"/>
          </ac:spMkLst>
        </pc:spChg>
      </pc:sldChg>
    </pc:docChg>
  </pc:docChgLst>
  <pc:docChgLst>
    <pc:chgData name="Yip, Rose" userId="c8b2182d-ea89-4f4f-a028-89ad78baec4b" providerId="ADAL" clId="{A96A9F5A-AD6E-4226-BF33-EA4D186CF3A4}"/>
    <pc:docChg chg="undo custSel addSld delSld modSld sldOrd modSection">
      <pc:chgData name="Yip, Rose" userId="c8b2182d-ea89-4f4f-a028-89ad78baec4b" providerId="ADAL" clId="{A96A9F5A-AD6E-4226-BF33-EA4D186CF3A4}" dt="2024-04-12T06:36:34.281" v="25"/>
      <pc:docMkLst>
        <pc:docMk/>
      </pc:docMkLst>
      <pc:sldChg chg="addSp delSp modSp add mod ord delCm">
        <pc:chgData name="Yip, Rose" userId="c8b2182d-ea89-4f4f-a028-89ad78baec4b" providerId="ADAL" clId="{A96A9F5A-AD6E-4226-BF33-EA4D186CF3A4}" dt="2024-04-12T06:23:50.695" v="17" actId="478"/>
        <pc:sldMkLst>
          <pc:docMk/>
          <pc:sldMk cId="700576794" sldId="305"/>
        </pc:sldMkLst>
        <pc:spChg chg="mod">
          <ac:chgData name="Yip, Rose" userId="c8b2182d-ea89-4f4f-a028-89ad78baec4b" providerId="ADAL" clId="{A96A9F5A-AD6E-4226-BF33-EA4D186CF3A4}" dt="2024-04-12T06:18:28.582" v="11" actId="20577"/>
          <ac:spMkLst>
            <pc:docMk/>
            <pc:sldMk cId="700576794" sldId="305"/>
            <ac:spMk id="16" creationId="{E1D9CDA1-BA79-9571-43EA-8ED5A68D74FE}"/>
          </ac:spMkLst>
        </pc:spChg>
        <pc:spChg chg="mod">
          <ac:chgData name="Yip, Rose" userId="c8b2182d-ea89-4f4f-a028-89ad78baec4b" providerId="ADAL" clId="{A96A9F5A-AD6E-4226-BF33-EA4D186CF3A4}" dt="2024-04-12T06:18:17.179" v="7" actId="6549"/>
          <ac:spMkLst>
            <pc:docMk/>
            <pc:sldMk cId="700576794" sldId="305"/>
            <ac:spMk id="17" creationId="{192223B8-059C-4F8E-A96E-32FE0B47F748}"/>
          </ac:spMkLst>
        </pc:spChg>
        <pc:spChg chg="add del">
          <ac:chgData name="Yip, Rose" userId="c8b2182d-ea89-4f4f-a028-89ad78baec4b" providerId="ADAL" clId="{A96A9F5A-AD6E-4226-BF33-EA4D186CF3A4}" dt="2024-04-12T06:23:50.695" v="17" actId="478"/>
          <ac:spMkLst>
            <pc:docMk/>
            <pc:sldMk cId="700576794" sldId="305"/>
            <ac:spMk id="23" creationId="{0656A0FD-9D9D-C227-0C82-5D0008FBFFA6}"/>
          </ac:spMkLst>
        </pc:spChg>
        <pc:graphicFrameChg chg="mod">
          <ac:chgData name="Yip, Rose" userId="c8b2182d-ea89-4f4f-a028-89ad78baec4b" providerId="ADAL" clId="{A96A9F5A-AD6E-4226-BF33-EA4D186CF3A4}" dt="2024-04-12T06:17:51.361" v="6"/>
          <ac:graphicFrameMkLst>
            <pc:docMk/>
            <pc:sldMk cId="700576794" sldId="305"/>
            <ac:graphicFrameMk id="62" creationId="{65CB08AF-F9EE-A3CF-9456-1A95FC3E6FD2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Yip, Rose" userId="c8b2182d-ea89-4f4f-a028-89ad78baec4b" providerId="ADAL" clId="{A96A9F5A-AD6E-4226-BF33-EA4D186CF3A4}" dt="2024-04-12T06:17:32.880" v="4"/>
              <pc2:cmMkLst xmlns:pc2="http://schemas.microsoft.com/office/powerpoint/2019/9/main/command">
                <pc:docMk/>
                <pc:sldMk cId="700576794" sldId="305"/>
                <pc2:cmMk id="{6F13ED77-4DF5-4654-AC0B-2CBC03F9834F}"/>
              </pc2:cmMkLst>
            </pc226:cmChg>
            <pc226:cmChg xmlns:pc226="http://schemas.microsoft.com/office/powerpoint/2022/06/main/command" chg="del">
              <pc226:chgData name="Yip, Rose" userId="c8b2182d-ea89-4f4f-a028-89ad78baec4b" providerId="ADAL" clId="{A96A9F5A-AD6E-4226-BF33-EA4D186CF3A4}" dt="2024-04-12T06:17:30.416" v="3"/>
              <pc2:cmMkLst xmlns:pc2="http://schemas.microsoft.com/office/powerpoint/2019/9/main/command">
                <pc:docMk/>
                <pc:sldMk cId="700576794" sldId="305"/>
                <pc2:cmMk id="{89BBBBD0-6E55-4086-8BE6-F3122EE2E5AE}"/>
              </pc2:cmMkLst>
            </pc226:cmChg>
            <pc226:cmChg xmlns:pc226="http://schemas.microsoft.com/office/powerpoint/2022/06/main/command" chg="del">
              <pc226:chgData name="Yip, Rose" userId="c8b2182d-ea89-4f4f-a028-89ad78baec4b" providerId="ADAL" clId="{A96A9F5A-AD6E-4226-BF33-EA4D186CF3A4}" dt="2024-04-12T06:17:34.999" v="5"/>
              <pc2:cmMkLst xmlns:pc2="http://schemas.microsoft.com/office/powerpoint/2019/9/main/command">
                <pc:docMk/>
                <pc:sldMk cId="700576794" sldId="305"/>
                <pc2:cmMk id="{89A92FE1-EE65-4764-BF1E-F24CDCC3D382}"/>
              </pc2:cmMkLst>
            </pc226:cmChg>
          </p:ext>
        </pc:extLst>
      </pc:sldChg>
      <pc:sldChg chg="ord">
        <pc:chgData name="Yip, Rose" userId="c8b2182d-ea89-4f4f-a028-89ad78baec4b" providerId="ADAL" clId="{A96A9F5A-AD6E-4226-BF33-EA4D186CF3A4}" dt="2024-04-12T06:36:34.281" v="25"/>
        <pc:sldMkLst>
          <pc:docMk/>
          <pc:sldMk cId="1726382797" sldId="2145709506"/>
        </pc:sldMkLst>
      </pc:sldChg>
      <pc:sldChg chg="ord">
        <pc:chgData name="Yip, Rose" userId="c8b2182d-ea89-4f4f-a028-89ad78baec4b" providerId="ADAL" clId="{A96A9F5A-AD6E-4226-BF33-EA4D186CF3A4}" dt="2024-04-12T06:36:23.515" v="19"/>
        <pc:sldMkLst>
          <pc:docMk/>
          <pc:sldMk cId="1444678996" sldId="2145709507"/>
        </pc:sldMkLst>
      </pc:sldChg>
      <pc:sldChg chg="ord">
        <pc:chgData name="Yip, Rose" userId="c8b2182d-ea89-4f4f-a028-89ad78baec4b" providerId="ADAL" clId="{A96A9F5A-AD6E-4226-BF33-EA4D186CF3A4}" dt="2024-04-12T06:36:29.249" v="23"/>
        <pc:sldMkLst>
          <pc:docMk/>
          <pc:sldMk cId="2828722068" sldId="2145709508"/>
        </pc:sldMkLst>
      </pc:sldChg>
      <pc:sldChg chg="new del">
        <pc:chgData name="Yip, Rose" userId="c8b2182d-ea89-4f4f-a028-89ad78baec4b" providerId="ADAL" clId="{A96A9F5A-AD6E-4226-BF33-EA4D186CF3A4}" dt="2024-04-12T06:17:21.123" v="2" actId="47"/>
        <pc:sldMkLst>
          <pc:docMk/>
          <pc:sldMk cId="1436366619" sldId="2145709512"/>
        </pc:sldMkLst>
      </pc:sldChg>
    </pc:docChg>
  </pc:docChgLst>
  <pc:docChgLst>
    <pc:chgData name="Beames, Jemma" userId="S::jemma.beames2@auspost.com.au::cf3f72c8-e5b9-4b66-9117-ca31d94af77c" providerId="AD" clId="Web-{7EC36DD2-67D1-0AC8-FACC-4DF000530DEA}"/>
    <pc:docChg chg="delSld modSld modSection">
      <pc:chgData name="Beames, Jemma" userId="S::jemma.beames2@auspost.com.au::cf3f72c8-e5b9-4b66-9117-ca31d94af77c" providerId="AD" clId="Web-{7EC36DD2-67D1-0AC8-FACC-4DF000530DEA}" dt="2024-03-25T03:20:21.946" v="88"/>
      <pc:docMkLst>
        <pc:docMk/>
      </pc:docMkLst>
      <pc:sldChg chg="addSp delSp modSp">
        <pc:chgData name="Beames, Jemma" userId="S::jemma.beames2@auspost.com.au::cf3f72c8-e5b9-4b66-9117-ca31d94af77c" providerId="AD" clId="Web-{7EC36DD2-67D1-0AC8-FACC-4DF000530DEA}" dt="2024-03-25T03:17:09.049" v="12" actId="20577"/>
        <pc:sldMkLst>
          <pc:docMk/>
          <pc:sldMk cId="3438602576" sldId="413"/>
        </pc:sldMkLst>
        <pc:spChg chg="mod">
          <ac:chgData name="Beames, Jemma" userId="S::jemma.beames2@auspost.com.au::cf3f72c8-e5b9-4b66-9117-ca31d94af77c" providerId="AD" clId="Web-{7EC36DD2-67D1-0AC8-FACC-4DF000530DEA}" dt="2024-03-25T03:17:09.049" v="12" actId="20577"/>
          <ac:spMkLst>
            <pc:docMk/>
            <pc:sldMk cId="3438602576" sldId="413"/>
            <ac:spMk id="2" creationId="{00000000-0000-0000-0000-000000000000}"/>
          </ac:spMkLst>
        </pc:spChg>
        <pc:spChg chg="mod">
          <ac:chgData name="Beames, Jemma" userId="S::jemma.beames2@auspost.com.au::cf3f72c8-e5b9-4b66-9117-ca31d94af77c" providerId="AD" clId="Web-{7EC36DD2-67D1-0AC8-FACC-4DF000530DEA}" dt="2024-03-25T03:16:54.580" v="9" actId="20577"/>
          <ac:spMkLst>
            <pc:docMk/>
            <pc:sldMk cId="3438602576" sldId="413"/>
            <ac:spMk id="6" creationId="{00000000-0000-0000-0000-000000000000}"/>
          </ac:spMkLst>
        </pc:spChg>
        <pc:spChg chg="add mod">
          <ac:chgData name="Beames, Jemma" userId="S::jemma.beames2@auspost.com.au::cf3f72c8-e5b9-4b66-9117-ca31d94af77c" providerId="AD" clId="Web-{7EC36DD2-67D1-0AC8-FACC-4DF000530DEA}" dt="2024-03-25T03:17:03.768" v="10"/>
          <ac:spMkLst>
            <pc:docMk/>
            <pc:sldMk cId="3438602576" sldId="413"/>
            <ac:spMk id="7" creationId="{33ABECBA-DDBD-2C90-E576-B93BBD1D7BD9}"/>
          </ac:spMkLst>
        </pc:spChg>
        <pc:spChg chg="del mod">
          <ac:chgData name="Beames, Jemma" userId="S::jemma.beames2@auspost.com.au::cf3f72c8-e5b9-4b66-9117-ca31d94af77c" providerId="AD" clId="Web-{7EC36DD2-67D1-0AC8-FACC-4DF000530DEA}" dt="2024-03-25T03:17:03.768" v="10"/>
          <ac:spMkLst>
            <pc:docMk/>
            <pc:sldMk cId="3438602576" sldId="413"/>
            <ac:spMk id="9" creationId="{6F8EA1E4-5AE5-36A0-7D22-95A94090FEE5}"/>
          </ac:spMkLst>
        </pc:spChg>
      </pc:sldChg>
      <pc:sldChg chg="del">
        <pc:chgData name="Beames, Jemma" userId="S::jemma.beames2@auspost.com.au::cf3f72c8-e5b9-4b66-9117-ca31d94af77c" providerId="AD" clId="Web-{7EC36DD2-67D1-0AC8-FACC-4DF000530DEA}" dt="2024-03-25T03:20:21.883" v="87"/>
        <pc:sldMkLst>
          <pc:docMk/>
          <pc:sldMk cId="1655762836" sldId="435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883" v="84"/>
        <pc:sldMkLst>
          <pc:docMk/>
          <pc:sldMk cId="542309265" sldId="436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883" v="85"/>
        <pc:sldMkLst>
          <pc:docMk/>
          <pc:sldMk cId="2279633382" sldId="1341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352" v="59"/>
        <pc:sldMkLst>
          <pc:docMk/>
          <pc:sldMk cId="1181880039" sldId="1355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883" v="86"/>
        <pc:sldMkLst>
          <pc:docMk/>
          <pc:sldMk cId="982343212" sldId="1806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727" v="82"/>
        <pc:sldMkLst>
          <pc:docMk/>
          <pc:sldMk cId="1710326787" sldId="2026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727" v="81"/>
        <pc:sldMkLst>
          <pc:docMk/>
          <pc:sldMk cId="1755781972" sldId="2031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524" v="65"/>
        <pc:sldMkLst>
          <pc:docMk/>
          <pc:sldMk cId="3708181645" sldId="2125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508" v="63"/>
        <pc:sldMkLst>
          <pc:docMk/>
          <pc:sldMk cId="1315449269" sldId="2134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727" v="83"/>
        <pc:sldMkLst>
          <pc:docMk/>
          <pc:sldMk cId="3344859026" sldId="2156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727" v="80"/>
        <pc:sldMkLst>
          <pc:docMk/>
          <pc:sldMk cId="3073482590" sldId="2163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727" v="79"/>
        <pc:sldMkLst>
          <pc:docMk/>
          <pc:sldMk cId="2085705160" sldId="2186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0.774" v="36"/>
        <pc:sldMkLst>
          <pc:docMk/>
          <pc:sldMk cId="3384303976" sldId="2198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946" v="88"/>
        <pc:sldMkLst>
          <pc:docMk/>
          <pc:sldMk cId="4173108575" sldId="2214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289" v="52"/>
        <pc:sldMkLst>
          <pc:docMk/>
          <pc:sldMk cId="4052627640" sldId="2220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274" v="51"/>
        <pc:sldMkLst>
          <pc:docMk/>
          <pc:sldMk cId="2829478225" sldId="2221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524" v="68"/>
        <pc:sldMkLst>
          <pc:docMk/>
          <pc:sldMk cId="3059933919" sldId="2226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524" v="67"/>
        <pc:sldMkLst>
          <pc:docMk/>
          <pc:sldMk cId="1001675206" sldId="2228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0.492" v="18"/>
        <pc:sldMkLst>
          <pc:docMk/>
          <pc:sldMk cId="1556358650" sldId="2229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0.508" v="21"/>
        <pc:sldMkLst>
          <pc:docMk/>
          <pc:sldMk cId="1242330514" sldId="2236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555" v="74"/>
        <pc:sldMkLst>
          <pc:docMk/>
          <pc:sldMk cId="2729026044" sldId="2239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570" v="75"/>
        <pc:sldMkLst>
          <pc:docMk/>
          <pc:sldMk cId="2636427110" sldId="2240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336" v="58"/>
        <pc:sldMkLst>
          <pc:docMk/>
          <pc:sldMk cId="3544817750" sldId="2244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305" v="54"/>
        <pc:sldMkLst>
          <pc:docMk/>
          <pc:sldMk cId="3873606163" sldId="2247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539" v="69"/>
        <pc:sldMkLst>
          <pc:docMk/>
          <pc:sldMk cId="1669076423" sldId="2249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258" v="50"/>
        <pc:sldMkLst>
          <pc:docMk/>
          <pc:sldMk cId="2114084997" sldId="2252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289" v="53"/>
        <pc:sldMkLst>
          <pc:docMk/>
          <pc:sldMk cId="389719218" sldId="2253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305" v="55"/>
        <pc:sldMkLst>
          <pc:docMk/>
          <pc:sldMk cId="3449459085" sldId="2254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258" v="49"/>
        <pc:sldMkLst>
          <pc:docMk/>
          <pc:sldMk cId="2983109111" sldId="2255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524" v="66"/>
        <pc:sldMkLst>
          <pc:docMk/>
          <pc:sldMk cId="4109281367" sldId="2256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524" v="64"/>
        <pc:sldMkLst>
          <pc:docMk/>
          <pc:sldMk cId="3438366677" sldId="2257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570" v="76"/>
        <pc:sldMkLst>
          <pc:docMk/>
          <pc:sldMk cId="318282502" sldId="2261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0.508" v="22"/>
        <pc:sldMkLst>
          <pc:docMk/>
          <pc:sldMk cId="3496971384" sldId="2262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0.492" v="19"/>
        <pc:sldMkLst>
          <pc:docMk/>
          <pc:sldMk cId="3055094652" sldId="2263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0.492" v="17"/>
        <pc:sldMkLst>
          <pc:docMk/>
          <pc:sldMk cId="2619831273" sldId="2264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0.492" v="16"/>
        <pc:sldMkLst>
          <pc:docMk/>
          <pc:sldMk cId="2173010263" sldId="2267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0.508" v="24"/>
        <pc:sldMkLst>
          <pc:docMk/>
          <pc:sldMk cId="3752199918" sldId="2268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0.336" v="13"/>
        <pc:sldMkLst>
          <pc:docMk/>
          <pc:sldMk cId="3467613409" sldId="2269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0.758" v="35"/>
        <pc:sldMkLst>
          <pc:docMk/>
          <pc:sldMk cId="852772780" sldId="2271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0.695" v="27"/>
        <pc:sldMkLst>
          <pc:docMk/>
          <pc:sldMk cId="2597384880" sldId="2273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055" v="45"/>
        <pc:sldMkLst>
          <pc:docMk/>
          <pc:sldMk cId="3635382682" sldId="2278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0.695" v="30"/>
        <pc:sldMkLst>
          <pc:docMk/>
          <pc:sldMk cId="1312317374" sldId="2280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0.695" v="29"/>
        <pc:sldMkLst>
          <pc:docMk/>
          <pc:sldMk cId="412152356" sldId="2281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0.711" v="32"/>
        <pc:sldMkLst>
          <pc:docMk/>
          <pc:sldMk cId="3495051951" sldId="2282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055" v="44"/>
        <pc:sldMkLst>
          <pc:docMk/>
          <pc:sldMk cId="481977742" sldId="2284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0.758" v="34"/>
        <pc:sldMkLst>
          <pc:docMk/>
          <pc:sldMk cId="607284625" sldId="2287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086" v="46"/>
        <pc:sldMkLst>
          <pc:docMk/>
          <pc:sldMk cId="2283092063" sldId="2297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024" v="42"/>
        <pc:sldMkLst>
          <pc:docMk/>
          <pc:sldMk cId="4072207904" sldId="2299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0.805" v="39"/>
        <pc:sldMkLst>
          <pc:docMk/>
          <pc:sldMk cId="4006797344" sldId="2302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0.508" v="23"/>
        <pc:sldMkLst>
          <pc:docMk/>
          <pc:sldMk cId="3573789580" sldId="2305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0.789" v="38"/>
        <pc:sldMkLst>
          <pc:docMk/>
          <pc:sldMk cId="3662807197" sldId="2307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008" v="41"/>
        <pc:sldMkLst>
          <pc:docMk/>
          <pc:sldMk cId="2087118540" sldId="2308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0.695" v="28"/>
        <pc:sldMkLst>
          <pc:docMk/>
          <pc:sldMk cId="1840795875" sldId="2311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039" v="43"/>
        <pc:sldMkLst>
          <pc:docMk/>
          <pc:sldMk cId="37872535" sldId="2313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0.758" v="33"/>
        <pc:sldMkLst>
          <pc:docMk/>
          <pc:sldMk cId="2679296469" sldId="2316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0.711" v="31"/>
        <pc:sldMkLst>
          <pc:docMk/>
          <pc:sldMk cId="1936524618" sldId="2317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0.789" v="37"/>
        <pc:sldMkLst>
          <pc:docMk/>
          <pc:sldMk cId="1948901142" sldId="2318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320" v="57"/>
        <pc:sldMkLst>
          <pc:docMk/>
          <pc:sldMk cId="616974690" sldId="2321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320" v="56"/>
        <pc:sldMkLst>
          <pc:docMk/>
          <pc:sldMk cId="3729299840" sldId="2322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539" v="73"/>
        <pc:sldMkLst>
          <pc:docMk/>
          <pc:sldMk cId="186084389" sldId="2323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539" v="72"/>
        <pc:sldMkLst>
          <pc:docMk/>
          <pc:sldMk cId="640893738" sldId="2324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539" v="71"/>
        <pc:sldMkLst>
          <pc:docMk/>
          <pc:sldMk cId="2576336731" sldId="2325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539" v="70"/>
        <pc:sldMkLst>
          <pc:docMk/>
          <pc:sldMk cId="547336517" sldId="2326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352" v="60"/>
        <pc:sldMkLst>
          <pc:docMk/>
          <pc:sldMk cId="3654689663" sldId="2328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570" v="77"/>
        <pc:sldMkLst>
          <pc:docMk/>
          <pc:sldMk cId="1651059594" sldId="2329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0.695" v="26"/>
        <pc:sldMkLst>
          <pc:docMk/>
          <pc:sldMk cId="2861621980" sldId="2331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258" v="48"/>
        <pc:sldMkLst>
          <pc:docMk/>
          <pc:sldMk cId="2044109835" sldId="2334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508" v="62"/>
        <pc:sldMkLst>
          <pc:docMk/>
          <pc:sldMk cId="1897280911" sldId="2337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0.492" v="15"/>
        <pc:sldMkLst>
          <pc:docMk/>
          <pc:sldMk cId="1413405598" sldId="2338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227" v="47"/>
        <pc:sldMkLst>
          <pc:docMk/>
          <pc:sldMk cId="2376430375" sldId="2343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0.961" v="40"/>
        <pc:sldMkLst>
          <pc:docMk/>
          <pc:sldMk cId="2985374315" sldId="2344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508" v="61"/>
        <pc:sldMkLst>
          <pc:docMk/>
          <pc:sldMk cId="2522794855" sldId="2347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1.727" v="78"/>
        <pc:sldMkLst>
          <pc:docMk/>
          <pc:sldMk cId="2910342005" sldId="2348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0.649" v="25"/>
        <pc:sldMkLst>
          <pc:docMk/>
          <pc:sldMk cId="2771495218" sldId="2349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0.508" v="20"/>
        <pc:sldMkLst>
          <pc:docMk/>
          <pc:sldMk cId="2690796485" sldId="2350"/>
        </pc:sldMkLst>
      </pc:sldChg>
      <pc:sldChg chg="del">
        <pc:chgData name="Beames, Jemma" userId="S::jemma.beames2@auspost.com.au::cf3f72c8-e5b9-4b66-9117-ca31d94af77c" providerId="AD" clId="Web-{7EC36DD2-67D1-0AC8-FACC-4DF000530DEA}" dt="2024-03-25T03:20:20.477" v="14"/>
        <pc:sldMkLst>
          <pc:docMk/>
          <pc:sldMk cId="1135438594" sldId="2351"/>
        </pc:sldMkLst>
      </pc:sldChg>
    </pc:docChg>
  </pc:docChgLst>
  <pc:docChgLst>
    <pc:chgData name="Beames, Jemma" userId="cf3f72c8-e5b9-4b66-9117-ca31d94af77c" providerId="ADAL" clId="{77AC89F2-A401-425F-80D1-994AA678C3BA}"/>
    <pc:docChg chg="undo custSel delSld modSld modSection">
      <pc:chgData name="Beames, Jemma" userId="cf3f72c8-e5b9-4b66-9117-ca31d94af77c" providerId="ADAL" clId="{77AC89F2-A401-425F-80D1-994AA678C3BA}" dt="2024-03-27T23:06:40.980" v="66" actId="1076"/>
      <pc:docMkLst>
        <pc:docMk/>
      </pc:docMkLst>
      <pc:sldChg chg="modSp mod">
        <pc:chgData name="Beames, Jemma" userId="cf3f72c8-e5b9-4b66-9117-ca31d94af77c" providerId="ADAL" clId="{77AC89F2-A401-425F-80D1-994AA678C3BA}" dt="2024-03-25T03:21:13.261" v="0" actId="14100"/>
        <pc:sldMkLst>
          <pc:docMk/>
          <pc:sldMk cId="3438602576" sldId="413"/>
        </pc:sldMkLst>
        <pc:spChg chg="mod">
          <ac:chgData name="Beames, Jemma" userId="cf3f72c8-e5b9-4b66-9117-ca31d94af77c" providerId="ADAL" clId="{77AC89F2-A401-425F-80D1-994AA678C3BA}" dt="2024-03-25T03:21:13.261" v="0" actId="14100"/>
          <ac:spMkLst>
            <pc:docMk/>
            <pc:sldMk cId="3438602576" sldId="413"/>
            <ac:spMk id="2" creationId="{00000000-0000-0000-0000-000000000000}"/>
          </ac:spMkLst>
        </pc:spChg>
      </pc:sldChg>
      <pc:sldChg chg="del">
        <pc:chgData name="Beames, Jemma" userId="cf3f72c8-e5b9-4b66-9117-ca31d94af77c" providerId="ADAL" clId="{77AC89F2-A401-425F-80D1-994AA678C3BA}" dt="2024-03-25T03:23:52.078" v="1" actId="47"/>
        <pc:sldMkLst>
          <pc:docMk/>
          <pc:sldMk cId="2997580296" sldId="2145709492"/>
        </pc:sldMkLst>
      </pc:sldChg>
      <pc:sldChg chg="modSp mod">
        <pc:chgData name="Beames, Jemma" userId="cf3f72c8-e5b9-4b66-9117-ca31d94af77c" providerId="ADAL" clId="{77AC89F2-A401-425F-80D1-994AA678C3BA}" dt="2024-03-26T23:34:15.875" v="16" actId="6549"/>
        <pc:sldMkLst>
          <pc:docMk/>
          <pc:sldMk cId="3664317551" sldId="2145709505"/>
        </pc:sldMkLst>
        <pc:spChg chg="mod">
          <ac:chgData name="Beames, Jemma" userId="cf3f72c8-e5b9-4b66-9117-ca31d94af77c" providerId="ADAL" clId="{77AC89F2-A401-425F-80D1-994AA678C3BA}" dt="2024-03-26T23:34:15.875" v="16" actId="6549"/>
          <ac:spMkLst>
            <pc:docMk/>
            <pc:sldMk cId="3664317551" sldId="2145709505"/>
            <ac:spMk id="4" creationId="{2C09E3E6-C9A1-22DC-4B6D-2190C65CD5BA}"/>
          </ac:spMkLst>
        </pc:spChg>
      </pc:sldChg>
      <pc:sldChg chg="modSp mod modNotesTx">
        <pc:chgData name="Beames, Jemma" userId="cf3f72c8-e5b9-4b66-9117-ca31d94af77c" providerId="ADAL" clId="{77AC89F2-A401-425F-80D1-994AA678C3BA}" dt="2024-03-27T23:06:05.287" v="65" actId="14100"/>
        <pc:sldMkLst>
          <pc:docMk/>
          <pc:sldMk cId="1726382797" sldId="2145709506"/>
        </pc:sldMkLst>
        <pc:spChg chg="mod">
          <ac:chgData name="Beames, Jemma" userId="cf3f72c8-e5b9-4b66-9117-ca31d94af77c" providerId="ADAL" clId="{77AC89F2-A401-425F-80D1-994AA678C3BA}" dt="2024-03-27T23:06:05.287" v="65" actId="14100"/>
          <ac:spMkLst>
            <pc:docMk/>
            <pc:sldMk cId="1726382797" sldId="2145709506"/>
            <ac:spMk id="2" creationId="{00000000-0000-0000-0000-000000000000}"/>
          </ac:spMkLst>
        </pc:spChg>
      </pc:sldChg>
      <pc:sldChg chg="modSp mod modNotesTx">
        <pc:chgData name="Beames, Jemma" userId="cf3f72c8-e5b9-4b66-9117-ca31d94af77c" providerId="ADAL" clId="{77AC89F2-A401-425F-80D1-994AA678C3BA}" dt="2024-03-27T23:05:52.928" v="63" actId="6549"/>
        <pc:sldMkLst>
          <pc:docMk/>
          <pc:sldMk cId="1444678996" sldId="2145709507"/>
        </pc:sldMkLst>
        <pc:spChg chg="mod">
          <ac:chgData name="Beames, Jemma" userId="cf3f72c8-e5b9-4b66-9117-ca31d94af77c" providerId="ADAL" clId="{77AC89F2-A401-425F-80D1-994AA678C3BA}" dt="2024-03-26T23:33:19.054" v="6" actId="108"/>
          <ac:spMkLst>
            <pc:docMk/>
            <pc:sldMk cId="1444678996" sldId="2145709507"/>
            <ac:spMk id="7" creationId="{81F1779F-CB2E-52D6-5D02-442C93A42ED1}"/>
          </ac:spMkLst>
        </pc:spChg>
      </pc:sldChg>
      <pc:sldChg chg="modSp mod modNotesTx">
        <pc:chgData name="Beames, Jemma" userId="cf3f72c8-e5b9-4b66-9117-ca31d94af77c" providerId="ADAL" clId="{77AC89F2-A401-425F-80D1-994AA678C3BA}" dt="2024-03-27T23:05:50.004" v="62" actId="6549"/>
        <pc:sldMkLst>
          <pc:docMk/>
          <pc:sldMk cId="2828722068" sldId="2145709508"/>
        </pc:sldMkLst>
        <pc:spChg chg="mod">
          <ac:chgData name="Beames, Jemma" userId="cf3f72c8-e5b9-4b66-9117-ca31d94af77c" providerId="ADAL" clId="{77AC89F2-A401-425F-80D1-994AA678C3BA}" dt="2024-03-26T23:33:53.649" v="12" actId="948"/>
          <ac:spMkLst>
            <pc:docMk/>
            <pc:sldMk cId="2828722068" sldId="2145709508"/>
            <ac:spMk id="20" creationId="{D3641A52-328D-6F1F-F576-8E50CAB2A838}"/>
          </ac:spMkLst>
        </pc:spChg>
      </pc:sldChg>
      <pc:sldChg chg="addSp delSp modSp mod modNotesTx">
        <pc:chgData name="Beames, Jemma" userId="cf3f72c8-e5b9-4b66-9117-ca31d94af77c" providerId="ADAL" clId="{77AC89F2-A401-425F-80D1-994AA678C3BA}" dt="2024-03-27T23:05:46.765" v="61" actId="6549"/>
        <pc:sldMkLst>
          <pc:docMk/>
          <pc:sldMk cId="791317467" sldId="2145709509"/>
        </pc:sldMkLst>
        <pc:spChg chg="mod">
          <ac:chgData name="Beames, Jemma" userId="cf3f72c8-e5b9-4b66-9117-ca31d94af77c" providerId="ADAL" clId="{77AC89F2-A401-425F-80D1-994AA678C3BA}" dt="2024-03-27T23:04:56.816" v="55" actId="1035"/>
          <ac:spMkLst>
            <pc:docMk/>
            <pc:sldMk cId="791317467" sldId="2145709509"/>
            <ac:spMk id="4" creationId="{63598666-4014-D97F-811B-A85887D893D3}"/>
          </ac:spMkLst>
        </pc:spChg>
        <pc:spChg chg="mod">
          <ac:chgData name="Beames, Jemma" userId="cf3f72c8-e5b9-4b66-9117-ca31d94af77c" providerId="ADAL" clId="{77AC89F2-A401-425F-80D1-994AA678C3BA}" dt="2024-03-27T23:03:28.533" v="24" actId="1076"/>
          <ac:spMkLst>
            <pc:docMk/>
            <pc:sldMk cId="791317467" sldId="2145709509"/>
            <ac:spMk id="6" creationId="{9208AE70-E676-B0C3-C1F9-4F2C77E3BF83}"/>
          </ac:spMkLst>
        </pc:spChg>
        <pc:spChg chg="mod">
          <ac:chgData name="Beames, Jemma" userId="cf3f72c8-e5b9-4b66-9117-ca31d94af77c" providerId="ADAL" clId="{77AC89F2-A401-425F-80D1-994AA678C3BA}" dt="2024-03-27T23:03:28.533" v="24" actId="1076"/>
          <ac:spMkLst>
            <pc:docMk/>
            <pc:sldMk cId="791317467" sldId="2145709509"/>
            <ac:spMk id="7" creationId="{BDF19306-89CF-BE1D-6001-8D7CE137698A}"/>
          </ac:spMkLst>
        </pc:spChg>
        <pc:spChg chg="mod">
          <ac:chgData name="Beames, Jemma" userId="cf3f72c8-e5b9-4b66-9117-ca31d94af77c" providerId="ADAL" clId="{77AC89F2-A401-425F-80D1-994AA678C3BA}" dt="2024-03-27T23:04:56.816" v="55" actId="1035"/>
          <ac:spMkLst>
            <pc:docMk/>
            <pc:sldMk cId="791317467" sldId="2145709509"/>
            <ac:spMk id="13" creationId="{52321B9E-C016-B930-76AC-70501B746672}"/>
          </ac:spMkLst>
        </pc:spChg>
        <pc:spChg chg="mod">
          <ac:chgData name="Beames, Jemma" userId="cf3f72c8-e5b9-4b66-9117-ca31d94af77c" providerId="ADAL" clId="{77AC89F2-A401-425F-80D1-994AA678C3BA}" dt="2024-03-27T23:04:56.816" v="55" actId="1035"/>
          <ac:spMkLst>
            <pc:docMk/>
            <pc:sldMk cId="791317467" sldId="2145709509"/>
            <ac:spMk id="23" creationId="{794C5EEF-1191-104C-51A9-2AA93F088E32}"/>
          </ac:spMkLst>
        </pc:spChg>
        <pc:spChg chg="mod">
          <ac:chgData name="Beames, Jemma" userId="cf3f72c8-e5b9-4b66-9117-ca31d94af77c" providerId="ADAL" clId="{77AC89F2-A401-425F-80D1-994AA678C3BA}" dt="2024-03-27T23:04:56.816" v="55" actId="1035"/>
          <ac:spMkLst>
            <pc:docMk/>
            <pc:sldMk cId="791317467" sldId="2145709509"/>
            <ac:spMk id="29" creationId="{EE9FC273-2553-2523-69AE-81999B2F4343}"/>
          </ac:spMkLst>
        </pc:spChg>
        <pc:spChg chg="mod">
          <ac:chgData name="Beames, Jemma" userId="cf3f72c8-e5b9-4b66-9117-ca31d94af77c" providerId="ADAL" clId="{77AC89F2-A401-425F-80D1-994AA678C3BA}" dt="2024-03-27T23:04:56.816" v="55" actId="1035"/>
          <ac:spMkLst>
            <pc:docMk/>
            <pc:sldMk cId="791317467" sldId="2145709509"/>
            <ac:spMk id="38" creationId="{75C97742-D0DC-AAED-386F-8BC4F8F08906}"/>
          </ac:spMkLst>
        </pc:spChg>
        <pc:spChg chg="mod">
          <ac:chgData name="Beames, Jemma" userId="cf3f72c8-e5b9-4b66-9117-ca31d94af77c" providerId="ADAL" clId="{77AC89F2-A401-425F-80D1-994AA678C3BA}" dt="2024-03-27T23:04:56.816" v="55" actId="1035"/>
          <ac:spMkLst>
            <pc:docMk/>
            <pc:sldMk cId="791317467" sldId="2145709509"/>
            <ac:spMk id="39" creationId="{88444691-8F93-7732-5867-4102C187A4FC}"/>
          </ac:spMkLst>
        </pc:spChg>
        <pc:spChg chg="mod">
          <ac:chgData name="Beames, Jemma" userId="cf3f72c8-e5b9-4b66-9117-ca31d94af77c" providerId="ADAL" clId="{77AC89F2-A401-425F-80D1-994AA678C3BA}" dt="2024-03-27T23:04:56.816" v="55" actId="1035"/>
          <ac:spMkLst>
            <pc:docMk/>
            <pc:sldMk cId="791317467" sldId="2145709509"/>
            <ac:spMk id="40" creationId="{14EEDC30-6CB8-F4A2-7D1E-B1ACDF99EA98}"/>
          </ac:spMkLst>
        </pc:spChg>
        <pc:spChg chg="mod">
          <ac:chgData name="Beames, Jemma" userId="cf3f72c8-e5b9-4b66-9117-ca31d94af77c" providerId="ADAL" clId="{77AC89F2-A401-425F-80D1-994AA678C3BA}" dt="2024-03-27T23:04:56.816" v="55" actId="1035"/>
          <ac:spMkLst>
            <pc:docMk/>
            <pc:sldMk cId="791317467" sldId="2145709509"/>
            <ac:spMk id="41" creationId="{486974A0-6ADB-26AB-73F4-9B292F37FED4}"/>
          </ac:spMkLst>
        </pc:spChg>
        <pc:spChg chg="mod">
          <ac:chgData name="Beames, Jemma" userId="cf3f72c8-e5b9-4b66-9117-ca31d94af77c" providerId="ADAL" clId="{77AC89F2-A401-425F-80D1-994AA678C3BA}" dt="2024-03-27T23:05:00.926" v="56" actId="1076"/>
          <ac:spMkLst>
            <pc:docMk/>
            <pc:sldMk cId="791317467" sldId="2145709509"/>
            <ac:spMk id="42" creationId="{83401C6F-17AC-3D84-91DC-2EF4D7179EF3}"/>
          </ac:spMkLst>
        </pc:spChg>
        <pc:spChg chg="mod">
          <ac:chgData name="Beames, Jemma" userId="cf3f72c8-e5b9-4b66-9117-ca31d94af77c" providerId="ADAL" clId="{77AC89F2-A401-425F-80D1-994AA678C3BA}" dt="2024-03-27T23:04:56.816" v="55" actId="1035"/>
          <ac:spMkLst>
            <pc:docMk/>
            <pc:sldMk cId="791317467" sldId="2145709509"/>
            <ac:spMk id="43" creationId="{3A842807-2060-34B4-F7AB-85F729671EBF}"/>
          </ac:spMkLst>
        </pc:spChg>
        <pc:spChg chg="mod">
          <ac:chgData name="Beames, Jemma" userId="cf3f72c8-e5b9-4b66-9117-ca31d94af77c" providerId="ADAL" clId="{77AC89F2-A401-425F-80D1-994AA678C3BA}" dt="2024-03-27T23:04:56.816" v="55" actId="1035"/>
          <ac:spMkLst>
            <pc:docMk/>
            <pc:sldMk cId="791317467" sldId="2145709509"/>
            <ac:spMk id="44" creationId="{D80D5885-E703-8EC6-8228-C0B93D735AE5}"/>
          </ac:spMkLst>
        </pc:spChg>
        <pc:spChg chg="mod">
          <ac:chgData name="Beames, Jemma" userId="cf3f72c8-e5b9-4b66-9117-ca31d94af77c" providerId="ADAL" clId="{77AC89F2-A401-425F-80D1-994AA678C3BA}" dt="2024-03-27T23:04:56.816" v="55" actId="1035"/>
          <ac:spMkLst>
            <pc:docMk/>
            <pc:sldMk cId="791317467" sldId="2145709509"/>
            <ac:spMk id="45" creationId="{D2EB1D44-5630-FD7A-932E-8ECF79FCC6FA}"/>
          </ac:spMkLst>
        </pc:spChg>
        <pc:spChg chg="mod">
          <ac:chgData name="Beames, Jemma" userId="cf3f72c8-e5b9-4b66-9117-ca31d94af77c" providerId="ADAL" clId="{77AC89F2-A401-425F-80D1-994AA678C3BA}" dt="2024-03-27T23:04:56.816" v="55" actId="1035"/>
          <ac:spMkLst>
            <pc:docMk/>
            <pc:sldMk cId="791317467" sldId="2145709509"/>
            <ac:spMk id="46" creationId="{64B8A782-E972-AE43-8CA3-ABECD9CA1A57}"/>
          </ac:spMkLst>
        </pc:spChg>
        <pc:spChg chg="mod">
          <ac:chgData name="Beames, Jemma" userId="cf3f72c8-e5b9-4b66-9117-ca31d94af77c" providerId="ADAL" clId="{77AC89F2-A401-425F-80D1-994AA678C3BA}" dt="2024-03-27T23:04:56.816" v="55" actId="1035"/>
          <ac:spMkLst>
            <pc:docMk/>
            <pc:sldMk cId="791317467" sldId="2145709509"/>
            <ac:spMk id="57" creationId="{00000000-0000-0000-0000-000000000000}"/>
          </ac:spMkLst>
        </pc:spChg>
        <pc:spChg chg="mod">
          <ac:chgData name="Beames, Jemma" userId="cf3f72c8-e5b9-4b66-9117-ca31d94af77c" providerId="ADAL" clId="{77AC89F2-A401-425F-80D1-994AA678C3BA}" dt="2024-03-27T23:04:56.816" v="55" actId="1035"/>
          <ac:spMkLst>
            <pc:docMk/>
            <pc:sldMk cId="791317467" sldId="2145709509"/>
            <ac:spMk id="58" creationId="{00000000-0000-0000-0000-000000000000}"/>
          </ac:spMkLst>
        </pc:spChg>
        <pc:spChg chg="mod">
          <ac:chgData name="Beames, Jemma" userId="cf3f72c8-e5b9-4b66-9117-ca31d94af77c" providerId="ADAL" clId="{77AC89F2-A401-425F-80D1-994AA678C3BA}" dt="2024-03-27T23:04:56.816" v="55" actId="1035"/>
          <ac:spMkLst>
            <pc:docMk/>
            <pc:sldMk cId="791317467" sldId="2145709509"/>
            <ac:spMk id="60" creationId="{00000000-0000-0000-0000-000000000000}"/>
          </ac:spMkLst>
        </pc:spChg>
        <pc:spChg chg="mod">
          <ac:chgData name="Beames, Jemma" userId="cf3f72c8-e5b9-4b66-9117-ca31d94af77c" providerId="ADAL" clId="{77AC89F2-A401-425F-80D1-994AA678C3BA}" dt="2024-03-27T23:03:36.367" v="25" actId="1076"/>
          <ac:spMkLst>
            <pc:docMk/>
            <pc:sldMk cId="791317467" sldId="2145709509"/>
            <ac:spMk id="61" creationId="{82F28C57-ABF9-65C9-9D43-B8B55F2F3277}"/>
          </ac:spMkLst>
        </pc:spChg>
        <pc:spChg chg="add del">
          <ac:chgData name="Beames, Jemma" userId="cf3f72c8-e5b9-4b66-9117-ca31d94af77c" providerId="ADAL" clId="{77AC89F2-A401-425F-80D1-994AA678C3BA}" dt="2024-03-27T23:03:22.156" v="23" actId="478"/>
          <ac:spMkLst>
            <pc:docMk/>
            <pc:sldMk cId="791317467" sldId="2145709509"/>
            <ac:spMk id="62" creationId="{C22BBB15-372C-E928-98EB-766A6886AD74}"/>
          </ac:spMkLst>
        </pc:spChg>
        <pc:spChg chg="mod">
          <ac:chgData name="Beames, Jemma" userId="cf3f72c8-e5b9-4b66-9117-ca31d94af77c" providerId="ADAL" clId="{77AC89F2-A401-425F-80D1-994AA678C3BA}" dt="2024-03-27T23:04:56.816" v="55" actId="1035"/>
          <ac:spMkLst>
            <pc:docMk/>
            <pc:sldMk cId="791317467" sldId="2145709509"/>
            <ac:spMk id="71" creationId="{0D13FBBD-CD60-4CA4-0054-26A9CDF97025}"/>
          </ac:spMkLst>
        </pc:spChg>
        <pc:spChg chg="mod">
          <ac:chgData name="Beames, Jemma" userId="cf3f72c8-e5b9-4b66-9117-ca31d94af77c" providerId="ADAL" clId="{77AC89F2-A401-425F-80D1-994AA678C3BA}" dt="2024-03-26T23:33:31.156" v="8" actId="948"/>
          <ac:spMkLst>
            <pc:docMk/>
            <pc:sldMk cId="791317467" sldId="2145709509"/>
            <ac:spMk id="75" creationId="{1CE02863-C873-4EB8-69E6-5EBB1AD81C9C}"/>
          </ac:spMkLst>
        </pc:spChg>
        <pc:spChg chg="del">
          <ac:chgData name="Beames, Jemma" userId="cf3f72c8-e5b9-4b66-9117-ca31d94af77c" providerId="ADAL" clId="{77AC89F2-A401-425F-80D1-994AA678C3BA}" dt="2024-03-27T23:04:32.263" v="26" actId="478"/>
          <ac:spMkLst>
            <pc:docMk/>
            <pc:sldMk cId="791317467" sldId="2145709509"/>
            <ac:spMk id="79" creationId="{0C77F290-0730-26D7-B258-CF1A7CBC93E9}"/>
          </ac:spMkLst>
        </pc:spChg>
        <pc:grpChg chg="del mod">
          <ac:chgData name="Beames, Jemma" userId="cf3f72c8-e5b9-4b66-9117-ca31d94af77c" providerId="ADAL" clId="{77AC89F2-A401-425F-80D1-994AA678C3BA}" dt="2024-03-27T23:02:59.094" v="17" actId="478"/>
          <ac:grpSpMkLst>
            <pc:docMk/>
            <pc:sldMk cId="791317467" sldId="2145709509"/>
            <ac:grpSpMk id="85" creationId="{BB7D58D4-E398-56F0-E6AC-DB2DEC082D24}"/>
          </ac:grpSpMkLst>
        </pc:grpChg>
        <pc:graphicFrameChg chg="mod">
          <ac:chgData name="Beames, Jemma" userId="cf3f72c8-e5b9-4b66-9117-ca31d94af77c" providerId="ADAL" clId="{77AC89F2-A401-425F-80D1-994AA678C3BA}" dt="2024-03-27T23:03:14.036" v="20" actId="14100"/>
          <ac:graphicFrameMkLst>
            <pc:docMk/>
            <pc:sldMk cId="791317467" sldId="2145709509"/>
            <ac:graphicFrameMk id="19" creationId="{6CEC5D39-CFAF-C881-2BBC-0598F07758FC}"/>
          </ac:graphicFrameMkLst>
        </pc:graphicFrameChg>
        <pc:graphicFrameChg chg="mod">
          <ac:chgData name="Beames, Jemma" userId="cf3f72c8-e5b9-4b66-9117-ca31d94af77c" providerId="ADAL" clId="{77AC89F2-A401-425F-80D1-994AA678C3BA}" dt="2024-03-27T23:03:14.036" v="20" actId="14100"/>
          <ac:graphicFrameMkLst>
            <pc:docMk/>
            <pc:sldMk cId="791317467" sldId="2145709509"/>
            <ac:graphicFrameMk id="34" creationId="{7D901E24-03A1-D272-0D7B-A44C4ADE1840}"/>
          </ac:graphicFrameMkLst>
        </pc:graphicFrameChg>
        <pc:graphicFrameChg chg="mod">
          <ac:chgData name="Beames, Jemma" userId="cf3f72c8-e5b9-4b66-9117-ca31d94af77c" providerId="ADAL" clId="{77AC89F2-A401-425F-80D1-994AA678C3BA}" dt="2024-03-27T23:03:14.036" v="20" actId="14100"/>
          <ac:graphicFrameMkLst>
            <pc:docMk/>
            <pc:sldMk cId="791317467" sldId="2145709509"/>
            <ac:graphicFrameMk id="59" creationId="{70F7B58F-1153-CDAE-CB59-B4B29174A2FD}"/>
          </ac:graphicFrameMkLst>
        </pc:graphicFrameChg>
      </pc:sldChg>
      <pc:sldChg chg="modSp mod modNotesTx">
        <pc:chgData name="Beames, Jemma" userId="cf3f72c8-e5b9-4b66-9117-ca31d94af77c" providerId="ADAL" clId="{77AC89F2-A401-425F-80D1-994AA678C3BA}" dt="2024-03-27T23:06:40.980" v="66" actId="1076"/>
        <pc:sldMkLst>
          <pc:docMk/>
          <pc:sldMk cId="2544352435" sldId="2145709510"/>
        </pc:sldMkLst>
        <pc:spChg chg="mod">
          <ac:chgData name="Beames, Jemma" userId="cf3f72c8-e5b9-4b66-9117-ca31d94af77c" providerId="ADAL" clId="{77AC89F2-A401-425F-80D1-994AA678C3BA}" dt="2024-03-27T23:06:40.980" v="66" actId="1076"/>
          <ac:spMkLst>
            <pc:docMk/>
            <pc:sldMk cId="2544352435" sldId="2145709510"/>
            <ac:spMk id="4" creationId="{BA70A26C-2EF5-92C9-29CC-19F48F751E3C}"/>
          </ac:spMkLst>
        </pc:spChg>
        <pc:spChg chg="mod">
          <ac:chgData name="Beames, Jemma" userId="cf3f72c8-e5b9-4b66-9117-ca31d94af77c" providerId="ADAL" clId="{77AC89F2-A401-425F-80D1-994AA678C3BA}" dt="2024-03-27T23:05:30.230" v="58" actId="1076"/>
          <ac:spMkLst>
            <pc:docMk/>
            <pc:sldMk cId="2544352435" sldId="2145709510"/>
            <ac:spMk id="13" creationId="{C4AA7443-0325-E0E3-B356-1037D8E1E305}"/>
          </ac:spMkLst>
        </pc:spChg>
        <pc:spChg chg="mod">
          <ac:chgData name="Beames, Jemma" userId="cf3f72c8-e5b9-4b66-9117-ca31d94af77c" providerId="ADAL" clId="{77AC89F2-A401-425F-80D1-994AA678C3BA}" dt="2024-03-27T23:05:30.230" v="58" actId="1076"/>
          <ac:spMkLst>
            <pc:docMk/>
            <pc:sldMk cId="2544352435" sldId="2145709510"/>
            <ac:spMk id="19" creationId="{A7C95A4B-35AF-8942-7495-96DE08109C6E}"/>
          </ac:spMkLst>
        </pc:spChg>
        <pc:spChg chg="mod">
          <ac:chgData name="Beames, Jemma" userId="cf3f72c8-e5b9-4b66-9117-ca31d94af77c" providerId="ADAL" clId="{77AC89F2-A401-425F-80D1-994AA678C3BA}" dt="2024-03-27T23:05:19.753" v="57" actId="1076"/>
          <ac:spMkLst>
            <pc:docMk/>
            <pc:sldMk cId="2544352435" sldId="2145709510"/>
            <ac:spMk id="38" creationId="{75C97742-D0DC-AAED-386F-8BC4F8F08906}"/>
          </ac:spMkLst>
        </pc:spChg>
        <pc:spChg chg="mod">
          <ac:chgData name="Beames, Jemma" userId="cf3f72c8-e5b9-4b66-9117-ca31d94af77c" providerId="ADAL" clId="{77AC89F2-A401-425F-80D1-994AA678C3BA}" dt="2024-03-27T23:05:19.753" v="57" actId="1076"/>
          <ac:spMkLst>
            <pc:docMk/>
            <pc:sldMk cId="2544352435" sldId="2145709510"/>
            <ac:spMk id="39" creationId="{88444691-8F93-7732-5867-4102C187A4FC}"/>
          </ac:spMkLst>
        </pc:spChg>
        <pc:spChg chg="mod">
          <ac:chgData name="Beames, Jemma" userId="cf3f72c8-e5b9-4b66-9117-ca31d94af77c" providerId="ADAL" clId="{77AC89F2-A401-425F-80D1-994AA678C3BA}" dt="2024-03-27T23:05:19.753" v="57" actId="1076"/>
          <ac:spMkLst>
            <pc:docMk/>
            <pc:sldMk cId="2544352435" sldId="2145709510"/>
            <ac:spMk id="40" creationId="{14EEDC30-6CB8-F4A2-7D1E-B1ACDF99EA98}"/>
          </ac:spMkLst>
        </pc:spChg>
        <pc:spChg chg="mod">
          <ac:chgData name="Beames, Jemma" userId="cf3f72c8-e5b9-4b66-9117-ca31d94af77c" providerId="ADAL" clId="{77AC89F2-A401-425F-80D1-994AA678C3BA}" dt="2024-03-27T23:05:19.753" v="57" actId="1076"/>
          <ac:spMkLst>
            <pc:docMk/>
            <pc:sldMk cId="2544352435" sldId="2145709510"/>
            <ac:spMk id="41" creationId="{486974A0-6ADB-26AB-73F4-9B292F37FED4}"/>
          </ac:spMkLst>
        </pc:spChg>
        <pc:spChg chg="mod">
          <ac:chgData name="Beames, Jemma" userId="cf3f72c8-e5b9-4b66-9117-ca31d94af77c" providerId="ADAL" clId="{77AC89F2-A401-425F-80D1-994AA678C3BA}" dt="2024-03-27T23:05:19.753" v="57" actId="1076"/>
          <ac:spMkLst>
            <pc:docMk/>
            <pc:sldMk cId="2544352435" sldId="2145709510"/>
            <ac:spMk id="43" creationId="{3A842807-2060-34B4-F7AB-85F729671EBF}"/>
          </ac:spMkLst>
        </pc:spChg>
        <pc:spChg chg="mod">
          <ac:chgData name="Beames, Jemma" userId="cf3f72c8-e5b9-4b66-9117-ca31d94af77c" providerId="ADAL" clId="{77AC89F2-A401-425F-80D1-994AA678C3BA}" dt="2024-03-27T23:05:19.753" v="57" actId="1076"/>
          <ac:spMkLst>
            <pc:docMk/>
            <pc:sldMk cId="2544352435" sldId="2145709510"/>
            <ac:spMk id="44" creationId="{D80D5885-E703-8EC6-8228-C0B93D735AE5}"/>
          </ac:spMkLst>
        </pc:spChg>
        <pc:spChg chg="mod">
          <ac:chgData name="Beames, Jemma" userId="cf3f72c8-e5b9-4b66-9117-ca31d94af77c" providerId="ADAL" clId="{77AC89F2-A401-425F-80D1-994AA678C3BA}" dt="2024-03-27T23:05:19.753" v="57" actId="1076"/>
          <ac:spMkLst>
            <pc:docMk/>
            <pc:sldMk cId="2544352435" sldId="2145709510"/>
            <ac:spMk id="45" creationId="{D2EB1D44-5630-FD7A-932E-8ECF79FCC6FA}"/>
          </ac:spMkLst>
        </pc:spChg>
        <pc:spChg chg="mod">
          <ac:chgData name="Beames, Jemma" userId="cf3f72c8-e5b9-4b66-9117-ca31d94af77c" providerId="ADAL" clId="{77AC89F2-A401-425F-80D1-994AA678C3BA}" dt="2024-03-27T23:05:19.753" v="57" actId="1076"/>
          <ac:spMkLst>
            <pc:docMk/>
            <pc:sldMk cId="2544352435" sldId="2145709510"/>
            <ac:spMk id="46" creationId="{64B8A782-E972-AE43-8CA3-ABECD9CA1A57}"/>
          </ac:spMkLst>
        </pc:spChg>
        <pc:spChg chg="mod">
          <ac:chgData name="Beames, Jemma" userId="cf3f72c8-e5b9-4b66-9117-ca31d94af77c" providerId="ADAL" clId="{77AC89F2-A401-425F-80D1-994AA678C3BA}" dt="2024-03-27T23:05:19.753" v="57" actId="1076"/>
          <ac:spMkLst>
            <pc:docMk/>
            <pc:sldMk cId="2544352435" sldId="2145709510"/>
            <ac:spMk id="57" creationId="{00000000-0000-0000-0000-000000000000}"/>
          </ac:spMkLst>
        </pc:spChg>
        <pc:spChg chg="mod">
          <ac:chgData name="Beames, Jemma" userId="cf3f72c8-e5b9-4b66-9117-ca31d94af77c" providerId="ADAL" clId="{77AC89F2-A401-425F-80D1-994AA678C3BA}" dt="2024-03-27T23:05:19.753" v="57" actId="1076"/>
          <ac:spMkLst>
            <pc:docMk/>
            <pc:sldMk cId="2544352435" sldId="2145709510"/>
            <ac:spMk id="58" creationId="{00000000-0000-0000-0000-000000000000}"/>
          </ac:spMkLst>
        </pc:spChg>
        <pc:spChg chg="mod">
          <ac:chgData name="Beames, Jemma" userId="cf3f72c8-e5b9-4b66-9117-ca31d94af77c" providerId="ADAL" clId="{77AC89F2-A401-425F-80D1-994AA678C3BA}" dt="2024-03-27T23:05:30.230" v="58" actId="1076"/>
          <ac:spMkLst>
            <pc:docMk/>
            <pc:sldMk cId="2544352435" sldId="2145709510"/>
            <ac:spMk id="59" creationId="{78D4208A-9F5C-8E6A-892D-7174C6595B8F}"/>
          </ac:spMkLst>
        </pc:spChg>
        <pc:spChg chg="mod">
          <ac:chgData name="Beames, Jemma" userId="cf3f72c8-e5b9-4b66-9117-ca31d94af77c" providerId="ADAL" clId="{77AC89F2-A401-425F-80D1-994AA678C3BA}" dt="2024-03-27T23:05:19.753" v="57" actId="1076"/>
          <ac:spMkLst>
            <pc:docMk/>
            <pc:sldMk cId="2544352435" sldId="2145709510"/>
            <ac:spMk id="60" creationId="{00000000-0000-0000-0000-000000000000}"/>
          </ac:spMkLst>
        </pc:spChg>
        <pc:spChg chg="mod">
          <ac:chgData name="Beames, Jemma" userId="cf3f72c8-e5b9-4b66-9117-ca31d94af77c" providerId="ADAL" clId="{77AC89F2-A401-425F-80D1-994AA678C3BA}" dt="2024-03-27T23:05:19.753" v="57" actId="1076"/>
          <ac:spMkLst>
            <pc:docMk/>
            <pc:sldMk cId="2544352435" sldId="2145709510"/>
            <ac:spMk id="71" creationId="{0D13FBBD-CD60-4CA4-0054-26A9CDF97025}"/>
          </ac:spMkLst>
        </pc:spChg>
        <pc:spChg chg="mod">
          <ac:chgData name="Beames, Jemma" userId="cf3f72c8-e5b9-4b66-9117-ca31d94af77c" providerId="ADAL" clId="{77AC89F2-A401-425F-80D1-994AA678C3BA}" dt="2024-03-27T23:05:19.753" v="57" actId="1076"/>
          <ac:spMkLst>
            <pc:docMk/>
            <pc:sldMk cId="2544352435" sldId="2145709510"/>
            <ac:spMk id="80" creationId="{01458835-D985-6F68-FD69-15AD0F40C51F}"/>
          </ac:spMkLst>
        </pc:spChg>
        <pc:spChg chg="mod">
          <ac:chgData name="Beames, Jemma" userId="cf3f72c8-e5b9-4b66-9117-ca31d94af77c" providerId="ADAL" clId="{77AC89F2-A401-425F-80D1-994AA678C3BA}" dt="2024-03-27T23:05:19.753" v="57" actId="1076"/>
          <ac:spMkLst>
            <pc:docMk/>
            <pc:sldMk cId="2544352435" sldId="2145709510"/>
            <ac:spMk id="81" creationId="{621DBC0F-60B9-3039-1886-1429D542DDC0}"/>
          </ac:spMkLst>
        </pc:spChg>
        <pc:spChg chg="mod">
          <ac:chgData name="Beames, Jemma" userId="cf3f72c8-e5b9-4b66-9117-ca31d94af77c" providerId="ADAL" clId="{77AC89F2-A401-425F-80D1-994AA678C3BA}" dt="2024-03-27T23:05:19.753" v="57" actId="1076"/>
          <ac:spMkLst>
            <pc:docMk/>
            <pc:sldMk cId="2544352435" sldId="2145709510"/>
            <ac:spMk id="82" creationId="{DC2BC294-7E0D-FE89-F7BA-107817C705F2}"/>
          </ac:spMkLst>
        </pc:spChg>
        <pc:spChg chg="mod">
          <ac:chgData name="Beames, Jemma" userId="cf3f72c8-e5b9-4b66-9117-ca31d94af77c" providerId="ADAL" clId="{77AC89F2-A401-425F-80D1-994AA678C3BA}" dt="2024-03-27T23:05:19.753" v="57" actId="1076"/>
          <ac:spMkLst>
            <pc:docMk/>
            <pc:sldMk cId="2544352435" sldId="2145709510"/>
            <ac:spMk id="83" creationId="{058A21A4-34B6-D89D-3821-48793DA84978}"/>
          </ac:spMkLst>
        </pc:spChg>
        <pc:spChg chg="mod">
          <ac:chgData name="Beames, Jemma" userId="cf3f72c8-e5b9-4b66-9117-ca31d94af77c" providerId="ADAL" clId="{77AC89F2-A401-425F-80D1-994AA678C3BA}" dt="2024-03-27T23:06:40.980" v="66" actId="1076"/>
          <ac:spMkLst>
            <pc:docMk/>
            <pc:sldMk cId="2544352435" sldId="2145709510"/>
            <ac:spMk id="92" creationId="{8C779474-D85A-DEE9-9B35-38A8539AB687}"/>
          </ac:spMkLst>
        </pc:spChg>
        <pc:spChg chg="mod">
          <ac:chgData name="Beames, Jemma" userId="cf3f72c8-e5b9-4b66-9117-ca31d94af77c" providerId="ADAL" clId="{77AC89F2-A401-425F-80D1-994AA678C3BA}" dt="2024-03-26T23:33:35.835" v="9" actId="108"/>
          <ac:spMkLst>
            <pc:docMk/>
            <pc:sldMk cId="2544352435" sldId="2145709510"/>
            <ac:spMk id="113" creationId="{C32CDB07-4F6A-6739-84DE-CE5C1AD9A87D}"/>
          </ac:spMkLst>
        </pc:spChg>
        <pc:cxnChg chg="mod">
          <ac:chgData name="Beames, Jemma" userId="cf3f72c8-e5b9-4b66-9117-ca31d94af77c" providerId="ADAL" clId="{77AC89F2-A401-425F-80D1-994AA678C3BA}" dt="2024-03-27T23:05:30.230" v="58" actId="1076"/>
          <ac:cxnSpMkLst>
            <pc:docMk/>
            <pc:sldMk cId="2544352435" sldId="2145709510"/>
            <ac:cxnSpMk id="29" creationId="{9C1902B0-743F-93D5-7242-4FF97F41351A}"/>
          </ac:cxnSpMkLst>
        </pc:cxnChg>
        <pc:cxnChg chg="mod">
          <ac:chgData name="Beames, Jemma" userId="cf3f72c8-e5b9-4b66-9117-ca31d94af77c" providerId="ADAL" clId="{77AC89F2-A401-425F-80D1-994AA678C3BA}" dt="2024-03-27T23:05:30.230" v="58" actId="1076"/>
          <ac:cxnSpMkLst>
            <pc:docMk/>
            <pc:sldMk cId="2544352435" sldId="2145709510"/>
            <ac:cxnSpMk id="74" creationId="{54088FC8-B1D3-2141-66F9-B729CD2004AE}"/>
          </ac:cxnSpMkLst>
        </pc:cxnChg>
        <pc:cxnChg chg="mod">
          <ac:chgData name="Beames, Jemma" userId="cf3f72c8-e5b9-4b66-9117-ca31d94af77c" providerId="ADAL" clId="{77AC89F2-A401-425F-80D1-994AA678C3BA}" dt="2024-03-27T23:05:30.230" v="58" actId="1076"/>
          <ac:cxnSpMkLst>
            <pc:docMk/>
            <pc:sldMk cId="2544352435" sldId="2145709510"/>
            <ac:cxnSpMk id="76" creationId="{725EA94F-808D-66E6-5FFE-1176C7B14507}"/>
          </ac:cxnSpMkLst>
        </pc:cxnChg>
      </pc:sldChg>
      <pc:sldChg chg="modSp mod modNotesTx">
        <pc:chgData name="Beames, Jemma" userId="cf3f72c8-e5b9-4b66-9117-ca31d94af77c" providerId="ADAL" clId="{77AC89F2-A401-425F-80D1-994AA678C3BA}" dt="2024-03-27T23:05:41.669" v="59" actId="6549"/>
        <pc:sldMkLst>
          <pc:docMk/>
          <pc:sldMk cId="2594555603" sldId="2145709511"/>
        </pc:sldMkLst>
        <pc:spChg chg="mod">
          <ac:chgData name="Beames, Jemma" userId="cf3f72c8-e5b9-4b66-9117-ca31d94af77c" providerId="ADAL" clId="{77AC89F2-A401-425F-80D1-994AA678C3BA}" dt="2024-03-26T23:33:44.967" v="11" actId="948"/>
          <ac:spMkLst>
            <pc:docMk/>
            <pc:sldMk cId="2594555603" sldId="2145709511"/>
            <ac:spMk id="44" creationId="{237F253D-FAF4-D8E8-5ED2-0FB82DAB5163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dk1" tx1="lt1" bg2="dk2" tx2="lt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8393807061439116E-2"/>
          <c:y val="0"/>
          <c:w val="0.98160617124623462"/>
          <c:h val="1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ln w="25400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Sheet1!$A$2:$A$53</c:f>
              <c:strCache>
                <c:ptCount val="52"/>
                <c:pt idx="0">
                  <c:v>Week 1</c:v>
                </c:pt>
                <c:pt idx="1">
                  <c:v>Week 2</c:v>
                </c:pt>
                <c:pt idx="2">
                  <c:v>Week 3</c:v>
                </c:pt>
                <c:pt idx="3">
                  <c:v>Week 4</c:v>
                </c:pt>
                <c:pt idx="4">
                  <c:v>Week 5</c:v>
                </c:pt>
                <c:pt idx="5">
                  <c:v>Week 6</c:v>
                </c:pt>
                <c:pt idx="6">
                  <c:v>Week 7</c:v>
                </c:pt>
                <c:pt idx="7">
                  <c:v>Week 8</c:v>
                </c:pt>
                <c:pt idx="8">
                  <c:v>Week 9</c:v>
                </c:pt>
                <c:pt idx="9">
                  <c:v>Week 10</c:v>
                </c:pt>
                <c:pt idx="10">
                  <c:v>Week 11</c:v>
                </c:pt>
                <c:pt idx="11">
                  <c:v>Week 12</c:v>
                </c:pt>
                <c:pt idx="12">
                  <c:v>Week 13</c:v>
                </c:pt>
                <c:pt idx="13">
                  <c:v>Week 14</c:v>
                </c:pt>
                <c:pt idx="14">
                  <c:v>Week 15</c:v>
                </c:pt>
                <c:pt idx="15">
                  <c:v>Week 16</c:v>
                </c:pt>
                <c:pt idx="16">
                  <c:v>Week 17</c:v>
                </c:pt>
                <c:pt idx="17">
                  <c:v>Week 18</c:v>
                </c:pt>
                <c:pt idx="18">
                  <c:v>Week 19</c:v>
                </c:pt>
                <c:pt idx="19">
                  <c:v>Week 20</c:v>
                </c:pt>
                <c:pt idx="20">
                  <c:v>Week 21</c:v>
                </c:pt>
                <c:pt idx="21">
                  <c:v>Week 22</c:v>
                </c:pt>
                <c:pt idx="22">
                  <c:v>Week 23</c:v>
                </c:pt>
                <c:pt idx="23">
                  <c:v>Week 24</c:v>
                </c:pt>
                <c:pt idx="24">
                  <c:v>Week 25</c:v>
                </c:pt>
                <c:pt idx="25">
                  <c:v>Week 26</c:v>
                </c:pt>
                <c:pt idx="26">
                  <c:v>Week 27</c:v>
                </c:pt>
                <c:pt idx="27">
                  <c:v>Week 28</c:v>
                </c:pt>
                <c:pt idx="28">
                  <c:v>Week 29</c:v>
                </c:pt>
                <c:pt idx="29">
                  <c:v>Week 30</c:v>
                </c:pt>
                <c:pt idx="30">
                  <c:v>Week 31</c:v>
                </c:pt>
                <c:pt idx="31">
                  <c:v>Week 32</c:v>
                </c:pt>
                <c:pt idx="32">
                  <c:v>Week 33</c:v>
                </c:pt>
                <c:pt idx="33">
                  <c:v>Week 34</c:v>
                </c:pt>
                <c:pt idx="34">
                  <c:v>Week 35</c:v>
                </c:pt>
                <c:pt idx="35">
                  <c:v>Week 36</c:v>
                </c:pt>
                <c:pt idx="36">
                  <c:v>Week 37</c:v>
                </c:pt>
                <c:pt idx="37">
                  <c:v>Week 38</c:v>
                </c:pt>
                <c:pt idx="38">
                  <c:v>Week 39</c:v>
                </c:pt>
                <c:pt idx="39">
                  <c:v>Week 40</c:v>
                </c:pt>
                <c:pt idx="40">
                  <c:v>Week 41</c:v>
                </c:pt>
                <c:pt idx="41">
                  <c:v>Week 42</c:v>
                </c:pt>
                <c:pt idx="42">
                  <c:v>Week 43</c:v>
                </c:pt>
                <c:pt idx="43">
                  <c:v>Week 44</c:v>
                </c:pt>
                <c:pt idx="44">
                  <c:v>Week 45</c:v>
                </c:pt>
                <c:pt idx="45">
                  <c:v>Week 46</c:v>
                </c:pt>
                <c:pt idx="46">
                  <c:v>Week 47</c:v>
                </c:pt>
                <c:pt idx="47">
                  <c:v>Week 48</c:v>
                </c:pt>
                <c:pt idx="48">
                  <c:v>Week 49</c:v>
                </c:pt>
                <c:pt idx="49">
                  <c:v>Week 50</c:v>
                </c:pt>
                <c:pt idx="50">
                  <c:v>Week 51</c:v>
                </c:pt>
                <c:pt idx="51">
                  <c:v>Week 52</c:v>
                </c:pt>
              </c:strCache>
            </c:strRef>
          </c:cat>
          <c:val>
            <c:numRef>
              <c:f>Sheet1!$B$2:$B$53</c:f>
              <c:numCache>
                <c:formatCode>#,##0.00000000</c:formatCode>
                <c:ptCount val="52"/>
                <c:pt idx="0">
                  <c:v>4.9482869518311645</c:v>
                </c:pt>
                <c:pt idx="1">
                  <c:v>5.2953946435541237</c:v>
                </c:pt>
                <c:pt idx="2">
                  <c:v>5.0546188053029422</c:v>
                </c:pt>
                <c:pt idx="3">
                  <c:v>4.0726720686242555</c:v>
                </c:pt>
                <c:pt idx="4">
                  <c:v>4.9496585159770961</c:v>
                </c:pt>
                <c:pt idx="5">
                  <c:v>4.2047632343331784</c:v>
                </c:pt>
                <c:pt idx="6">
                  <c:v>4.0718388242190526</c:v>
                </c:pt>
                <c:pt idx="7">
                  <c:v>4.2594799823995384</c:v>
                </c:pt>
                <c:pt idx="8">
                  <c:v>4.1679952285794064</c:v>
                </c:pt>
                <c:pt idx="9">
                  <c:v>4.2952996244552848</c:v>
                </c:pt>
                <c:pt idx="10">
                  <c:v>4.5377112530387844</c:v>
                </c:pt>
                <c:pt idx="11">
                  <c:v>4.8249536233706056</c:v>
                </c:pt>
                <c:pt idx="12">
                  <c:v>3.5050352813223151</c:v>
                </c:pt>
                <c:pt idx="13" formatCode="General">
                  <c:v>4.41452154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1D6-4104-AC43-CAEDECA5B48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3</c:v>
                </c:pt>
              </c:strCache>
            </c:strRef>
          </c:tx>
          <c:spPr>
            <a:ln w="19050" cap="rnd">
              <a:solidFill>
                <a:srgbClr val="007AAB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heet1!$A$2:$A$53</c:f>
              <c:strCache>
                <c:ptCount val="52"/>
                <c:pt idx="0">
                  <c:v>Week 1</c:v>
                </c:pt>
                <c:pt idx="1">
                  <c:v>Week 2</c:v>
                </c:pt>
                <c:pt idx="2">
                  <c:v>Week 3</c:v>
                </c:pt>
                <c:pt idx="3">
                  <c:v>Week 4</c:v>
                </c:pt>
                <c:pt idx="4">
                  <c:v>Week 5</c:v>
                </c:pt>
                <c:pt idx="5">
                  <c:v>Week 6</c:v>
                </c:pt>
                <c:pt idx="6">
                  <c:v>Week 7</c:v>
                </c:pt>
                <c:pt idx="7">
                  <c:v>Week 8</c:v>
                </c:pt>
                <c:pt idx="8">
                  <c:v>Week 9</c:v>
                </c:pt>
                <c:pt idx="9">
                  <c:v>Week 10</c:v>
                </c:pt>
                <c:pt idx="10">
                  <c:v>Week 11</c:v>
                </c:pt>
                <c:pt idx="11">
                  <c:v>Week 12</c:v>
                </c:pt>
                <c:pt idx="12">
                  <c:v>Week 13</c:v>
                </c:pt>
                <c:pt idx="13">
                  <c:v>Week 14</c:v>
                </c:pt>
                <c:pt idx="14">
                  <c:v>Week 15</c:v>
                </c:pt>
                <c:pt idx="15">
                  <c:v>Week 16</c:v>
                </c:pt>
                <c:pt idx="16">
                  <c:v>Week 17</c:v>
                </c:pt>
                <c:pt idx="17">
                  <c:v>Week 18</c:v>
                </c:pt>
                <c:pt idx="18">
                  <c:v>Week 19</c:v>
                </c:pt>
                <c:pt idx="19">
                  <c:v>Week 20</c:v>
                </c:pt>
                <c:pt idx="20">
                  <c:v>Week 21</c:v>
                </c:pt>
                <c:pt idx="21">
                  <c:v>Week 22</c:v>
                </c:pt>
                <c:pt idx="22">
                  <c:v>Week 23</c:v>
                </c:pt>
                <c:pt idx="23">
                  <c:v>Week 24</c:v>
                </c:pt>
                <c:pt idx="24">
                  <c:v>Week 25</c:v>
                </c:pt>
                <c:pt idx="25">
                  <c:v>Week 26</c:v>
                </c:pt>
                <c:pt idx="26">
                  <c:v>Week 27</c:v>
                </c:pt>
                <c:pt idx="27">
                  <c:v>Week 28</c:v>
                </c:pt>
                <c:pt idx="28">
                  <c:v>Week 29</c:v>
                </c:pt>
                <c:pt idx="29">
                  <c:v>Week 30</c:v>
                </c:pt>
                <c:pt idx="30">
                  <c:v>Week 31</c:v>
                </c:pt>
                <c:pt idx="31">
                  <c:v>Week 32</c:v>
                </c:pt>
                <c:pt idx="32">
                  <c:v>Week 33</c:v>
                </c:pt>
                <c:pt idx="33">
                  <c:v>Week 34</c:v>
                </c:pt>
                <c:pt idx="34">
                  <c:v>Week 35</c:v>
                </c:pt>
                <c:pt idx="35">
                  <c:v>Week 36</c:v>
                </c:pt>
                <c:pt idx="36">
                  <c:v>Week 37</c:v>
                </c:pt>
                <c:pt idx="37">
                  <c:v>Week 38</c:v>
                </c:pt>
                <c:pt idx="38">
                  <c:v>Week 39</c:v>
                </c:pt>
                <c:pt idx="39">
                  <c:v>Week 40</c:v>
                </c:pt>
                <c:pt idx="40">
                  <c:v>Week 41</c:v>
                </c:pt>
                <c:pt idx="41">
                  <c:v>Week 42</c:v>
                </c:pt>
                <c:pt idx="42">
                  <c:v>Week 43</c:v>
                </c:pt>
                <c:pt idx="43">
                  <c:v>Week 44</c:v>
                </c:pt>
                <c:pt idx="44">
                  <c:v>Week 45</c:v>
                </c:pt>
                <c:pt idx="45">
                  <c:v>Week 46</c:v>
                </c:pt>
                <c:pt idx="46">
                  <c:v>Week 47</c:v>
                </c:pt>
                <c:pt idx="47">
                  <c:v>Week 48</c:v>
                </c:pt>
                <c:pt idx="48">
                  <c:v>Week 49</c:v>
                </c:pt>
                <c:pt idx="49">
                  <c:v>Week 50</c:v>
                </c:pt>
                <c:pt idx="50">
                  <c:v>Week 51</c:v>
                </c:pt>
                <c:pt idx="51">
                  <c:v>Week 52</c:v>
                </c:pt>
              </c:strCache>
            </c:strRef>
          </c:cat>
          <c:val>
            <c:numRef>
              <c:f>Sheet1!$C$2:$C$53</c:f>
              <c:numCache>
                <c:formatCode>#,##0.00000000</c:formatCode>
                <c:ptCount val="52"/>
                <c:pt idx="0">
                  <c:v>4.6457545466638797</c:v>
                </c:pt>
                <c:pt idx="1">
                  <c:v>4.8522094864144618</c:v>
                </c:pt>
                <c:pt idx="2">
                  <c:v>4.5231853910328281</c:v>
                </c:pt>
                <c:pt idx="3">
                  <c:v>4.0212104556092694</c:v>
                </c:pt>
                <c:pt idx="4">
                  <c:v>4.5499095125812596</c:v>
                </c:pt>
                <c:pt idx="5">
                  <c:v>4.5171312126045029</c:v>
                </c:pt>
                <c:pt idx="6">
                  <c:v>4.1831854933610888</c:v>
                </c:pt>
                <c:pt idx="7">
                  <c:v>4.2635880965920308</c:v>
                </c:pt>
                <c:pt idx="8">
                  <c:v>4.1446720598532618</c:v>
                </c:pt>
                <c:pt idx="9">
                  <c:v>4.1165073025832033</c:v>
                </c:pt>
                <c:pt idx="10">
                  <c:v>4.4201415638389463</c:v>
                </c:pt>
                <c:pt idx="11">
                  <c:v>4.5454001254252105</c:v>
                </c:pt>
                <c:pt idx="12">
                  <c:v>4.1455107861295506</c:v>
                </c:pt>
                <c:pt idx="13">
                  <c:v>3.3758593746573831</c:v>
                </c:pt>
                <c:pt idx="14">
                  <c:v>4.5098326494394598</c:v>
                </c:pt>
                <c:pt idx="15">
                  <c:v>4.8164161573399333</c:v>
                </c:pt>
                <c:pt idx="16">
                  <c:v>4.2134541927542823</c:v>
                </c:pt>
                <c:pt idx="17">
                  <c:v>4.6291938141104829</c:v>
                </c:pt>
                <c:pt idx="18">
                  <c:v>4.6405917204742764</c:v>
                </c:pt>
                <c:pt idx="19">
                  <c:v>4.863052627424266</c:v>
                </c:pt>
                <c:pt idx="20">
                  <c:v>4.5435110726486787</c:v>
                </c:pt>
                <c:pt idx="21">
                  <c:v>4.6825565400183899</c:v>
                </c:pt>
                <c:pt idx="22">
                  <c:v>4.5396024985637498</c:v>
                </c:pt>
                <c:pt idx="23">
                  <c:v>4.4011501696456374</c:v>
                </c:pt>
                <c:pt idx="24">
                  <c:v>4.9009400312539739</c:v>
                </c:pt>
                <c:pt idx="25">
                  <c:v>4.9454144513816507</c:v>
                </c:pt>
                <c:pt idx="26">
                  <c:v>4.4335217147877497</c:v>
                </c:pt>
                <c:pt idx="27">
                  <c:v>4.4701000478019157</c:v>
                </c:pt>
                <c:pt idx="28">
                  <c:v>4.6161941050151079</c:v>
                </c:pt>
                <c:pt idx="29">
                  <c:v>4.5184271269294358</c:v>
                </c:pt>
                <c:pt idx="30">
                  <c:v>4.403329761589772</c:v>
                </c:pt>
                <c:pt idx="31">
                  <c:v>4.4309715483581433</c:v>
                </c:pt>
                <c:pt idx="32">
                  <c:v>5.0209074908672031</c:v>
                </c:pt>
                <c:pt idx="33">
                  <c:v>4.9686871868937965</c:v>
                </c:pt>
                <c:pt idx="34">
                  <c:v>4.4600945366941831</c:v>
                </c:pt>
                <c:pt idx="35">
                  <c:v>4.5675446918676812</c:v>
                </c:pt>
                <c:pt idx="36">
                  <c:v>4.4765565955680167</c:v>
                </c:pt>
                <c:pt idx="37">
                  <c:v>4.782499820925544</c:v>
                </c:pt>
                <c:pt idx="38">
                  <c:v>4.23464052813077</c:v>
                </c:pt>
                <c:pt idx="39">
                  <c:v>4.4923542516661232</c:v>
                </c:pt>
                <c:pt idx="40">
                  <c:v>4.8378711043996763</c:v>
                </c:pt>
                <c:pt idx="41">
                  <c:v>4.9389447471249417</c:v>
                </c:pt>
                <c:pt idx="42">
                  <c:v>5.4044772999372874</c:v>
                </c:pt>
                <c:pt idx="43">
                  <c:v>5.0278431541662947</c:v>
                </c:pt>
                <c:pt idx="44">
                  <c:v>5.2955371722023816</c:v>
                </c:pt>
                <c:pt idx="45">
                  <c:v>6.57376149913825</c:v>
                </c:pt>
                <c:pt idx="46">
                  <c:v>9.5017669897803305</c:v>
                </c:pt>
                <c:pt idx="47">
                  <c:v>10</c:v>
                </c:pt>
                <c:pt idx="48">
                  <c:v>7.5316373398745453</c:v>
                </c:pt>
                <c:pt idx="49">
                  <c:v>7.1382209939582477</c:v>
                </c:pt>
                <c:pt idx="50">
                  <c:v>4.8650436430030126</c:v>
                </c:pt>
                <c:pt idx="51">
                  <c:v>4.17659847706312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1D6-4104-AC43-CAEDECA5B48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2</c:v>
                </c:pt>
              </c:strCache>
            </c:strRef>
          </c:tx>
          <c:spPr>
            <a:ln w="15875" cap="rnd">
              <a:solidFill>
                <a:sysClr val="window" lastClr="FFFFFF">
                  <a:lumMod val="50000"/>
                </a:sysClr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Sheet1!$A$2:$A$53</c:f>
              <c:strCache>
                <c:ptCount val="52"/>
                <c:pt idx="0">
                  <c:v>Week 1</c:v>
                </c:pt>
                <c:pt idx="1">
                  <c:v>Week 2</c:v>
                </c:pt>
                <c:pt idx="2">
                  <c:v>Week 3</c:v>
                </c:pt>
                <c:pt idx="3">
                  <c:v>Week 4</c:v>
                </c:pt>
                <c:pt idx="4">
                  <c:v>Week 5</c:v>
                </c:pt>
                <c:pt idx="5">
                  <c:v>Week 6</c:v>
                </c:pt>
                <c:pt idx="6">
                  <c:v>Week 7</c:v>
                </c:pt>
                <c:pt idx="7">
                  <c:v>Week 8</c:v>
                </c:pt>
                <c:pt idx="8">
                  <c:v>Week 9</c:v>
                </c:pt>
                <c:pt idx="9">
                  <c:v>Week 10</c:v>
                </c:pt>
                <c:pt idx="10">
                  <c:v>Week 11</c:v>
                </c:pt>
                <c:pt idx="11">
                  <c:v>Week 12</c:v>
                </c:pt>
                <c:pt idx="12">
                  <c:v>Week 13</c:v>
                </c:pt>
                <c:pt idx="13">
                  <c:v>Week 14</c:v>
                </c:pt>
                <c:pt idx="14">
                  <c:v>Week 15</c:v>
                </c:pt>
                <c:pt idx="15">
                  <c:v>Week 16</c:v>
                </c:pt>
                <c:pt idx="16">
                  <c:v>Week 17</c:v>
                </c:pt>
                <c:pt idx="17">
                  <c:v>Week 18</c:v>
                </c:pt>
                <c:pt idx="18">
                  <c:v>Week 19</c:v>
                </c:pt>
                <c:pt idx="19">
                  <c:v>Week 20</c:v>
                </c:pt>
                <c:pt idx="20">
                  <c:v>Week 21</c:v>
                </c:pt>
                <c:pt idx="21">
                  <c:v>Week 22</c:v>
                </c:pt>
                <c:pt idx="22">
                  <c:v>Week 23</c:v>
                </c:pt>
                <c:pt idx="23">
                  <c:v>Week 24</c:v>
                </c:pt>
                <c:pt idx="24">
                  <c:v>Week 25</c:v>
                </c:pt>
                <c:pt idx="25">
                  <c:v>Week 26</c:v>
                </c:pt>
                <c:pt idx="26">
                  <c:v>Week 27</c:v>
                </c:pt>
                <c:pt idx="27">
                  <c:v>Week 28</c:v>
                </c:pt>
                <c:pt idx="28">
                  <c:v>Week 29</c:v>
                </c:pt>
                <c:pt idx="29">
                  <c:v>Week 30</c:v>
                </c:pt>
                <c:pt idx="30">
                  <c:v>Week 31</c:v>
                </c:pt>
                <c:pt idx="31">
                  <c:v>Week 32</c:v>
                </c:pt>
                <c:pt idx="32">
                  <c:v>Week 33</c:v>
                </c:pt>
                <c:pt idx="33">
                  <c:v>Week 34</c:v>
                </c:pt>
                <c:pt idx="34">
                  <c:v>Week 35</c:v>
                </c:pt>
                <c:pt idx="35">
                  <c:v>Week 36</c:v>
                </c:pt>
                <c:pt idx="36">
                  <c:v>Week 37</c:v>
                </c:pt>
                <c:pt idx="37">
                  <c:v>Week 38</c:v>
                </c:pt>
                <c:pt idx="38">
                  <c:v>Week 39</c:v>
                </c:pt>
                <c:pt idx="39">
                  <c:v>Week 40</c:v>
                </c:pt>
                <c:pt idx="40">
                  <c:v>Week 41</c:v>
                </c:pt>
                <c:pt idx="41">
                  <c:v>Week 42</c:v>
                </c:pt>
                <c:pt idx="42">
                  <c:v>Week 43</c:v>
                </c:pt>
                <c:pt idx="43">
                  <c:v>Week 44</c:v>
                </c:pt>
                <c:pt idx="44">
                  <c:v>Week 45</c:v>
                </c:pt>
                <c:pt idx="45">
                  <c:v>Week 46</c:v>
                </c:pt>
                <c:pt idx="46">
                  <c:v>Week 47</c:v>
                </c:pt>
                <c:pt idx="47">
                  <c:v>Week 48</c:v>
                </c:pt>
                <c:pt idx="48">
                  <c:v>Week 49</c:v>
                </c:pt>
                <c:pt idx="49">
                  <c:v>Week 50</c:v>
                </c:pt>
                <c:pt idx="50">
                  <c:v>Week 51</c:v>
                </c:pt>
                <c:pt idx="51">
                  <c:v>Week 52</c:v>
                </c:pt>
              </c:strCache>
            </c:strRef>
          </c:cat>
          <c:val>
            <c:numRef>
              <c:f>Sheet1!$D$2:$D$53</c:f>
              <c:numCache>
                <c:formatCode>#,##0.00000000</c:formatCode>
                <c:ptCount val="52"/>
                <c:pt idx="0">
                  <c:v>5.1444513231774973</c:v>
                </c:pt>
                <c:pt idx="1">
                  <c:v>5.5036191312915435</c:v>
                </c:pt>
                <c:pt idx="2">
                  <c:v>5.2068043176678511</c:v>
                </c:pt>
                <c:pt idx="3">
                  <c:v>4.703934740882918</c:v>
                </c:pt>
                <c:pt idx="4">
                  <c:v>4.5043913441986447</c:v>
                </c:pt>
                <c:pt idx="5">
                  <c:v>4.4931535084705878</c:v>
                </c:pt>
                <c:pt idx="6">
                  <c:v>4.424694805963691</c:v>
                </c:pt>
                <c:pt idx="7">
                  <c:v>4.4717796931029294</c:v>
                </c:pt>
                <c:pt idx="8">
                  <c:v>4.1659033465726605</c:v>
                </c:pt>
                <c:pt idx="9">
                  <c:v>4.1765579112170776</c:v>
                </c:pt>
                <c:pt idx="10">
                  <c:v>4.3297422204940119</c:v>
                </c:pt>
                <c:pt idx="11">
                  <c:v>4.6854871483014238</c:v>
                </c:pt>
                <c:pt idx="12">
                  <c:v>4.4912633593198388</c:v>
                </c:pt>
                <c:pt idx="13">
                  <c:v>4.5268154860665453</c:v>
                </c:pt>
                <c:pt idx="14">
                  <c:v>3.4701037023826404</c:v>
                </c:pt>
                <c:pt idx="15">
                  <c:v>4.4416513296095594</c:v>
                </c:pt>
                <c:pt idx="16">
                  <c:v>4.3154707173064866</c:v>
                </c:pt>
                <c:pt idx="17">
                  <c:v>4.4754404866147324</c:v>
                </c:pt>
                <c:pt idx="18">
                  <c:v>4.2954728515816294</c:v>
                </c:pt>
                <c:pt idx="19">
                  <c:v>4.3654204302757158</c:v>
                </c:pt>
                <c:pt idx="20">
                  <c:v>4.8200122647729113</c:v>
                </c:pt>
                <c:pt idx="21">
                  <c:v>4.5934454363788664</c:v>
                </c:pt>
                <c:pt idx="22">
                  <c:v>4.5230198385260056</c:v>
                </c:pt>
                <c:pt idx="23">
                  <c:v>4.4308202487161452</c:v>
                </c:pt>
                <c:pt idx="24">
                  <c:v>4.7044730606236467</c:v>
                </c:pt>
                <c:pt idx="25">
                  <c:v>4.6017055197325432</c:v>
                </c:pt>
                <c:pt idx="26">
                  <c:v>4.0786747174643647</c:v>
                </c:pt>
                <c:pt idx="27">
                  <c:v>4.3893455084471977</c:v>
                </c:pt>
                <c:pt idx="28">
                  <c:v>4.6024170665996174</c:v>
                </c:pt>
                <c:pt idx="29">
                  <c:v>4.7144950173446407</c:v>
                </c:pt>
                <c:pt idx="30">
                  <c:v>4.4630284340998694</c:v>
                </c:pt>
                <c:pt idx="31">
                  <c:v>4.3362875745717195</c:v>
                </c:pt>
                <c:pt idx="32">
                  <c:v>4.7825710852496739</c:v>
                </c:pt>
                <c:pt idx="33">
                  <c:v>4.8899872528224329</c:v>
                </c:pt>
                <c:pt idx="34">
                  <c:v>4.4048679746167441</c:v>
                </c:pt>
                <c:pt idx="35">
                  <c:v>4.3659269551641415</c:v>
                </c:pt>
                <c:pt idx="36">
                  <c:v>4.6581128768420914</c:v>
                </c:pt>
                <c:pt idx="37">
                  <c:v>3.9278125287798229</c:v>
                </c:pt>
                <c:pt idx="38">
                  <c:v>4.7727629215010676</c:v>
                </c:pt>
                <c:pt idx="39">
                  <c:v>4.4406678819365766</c:v>
                </c:pt>
                <c:pt idx="40">
                  <c:v>4.85675286117125</c:v>
                </c:pt>
                <c:pt idx="41">
                  <c:v>4.7393213151228011</c:v>
                </c:pt>
                <c:pt idx="42">
                  <c:v>4.7651507953098573</c:v>
                </c:pt>
                <c:pt idx="43">
                  <c:v>4.6758368624401196</c:v>
                </c:pt>
                <c:pt idx="44">
                  <c:v>5.9201930934271632</c:v>
                </c:pt>
                <c:pt idx="45">
                  <c:v>6.1667062579578493</c:v>
                </c:pt>
                <c:pt idx="46">
                  <c:v>8.9132936104772433</c:v>
                </c:pt>
                <c:pt idx="47">
                  <c:v>9.5747997655221013</c:v>
                </c:pt>
                <c:pt idx="48">
                  <c:v>7.2853544139295074</c:v>
                </c:pt>
                <c:pt idx="49">
                  <c:v>6.3954428109280732</c:v>
                </c:pt>
                <c:pt idx="50">
                  <c:v>3.7422468069928208</c:v>
                </c:pt>
                <c:pt idx="51">
                  <c:v>4.15358010036940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1D6-4104-AC43-CAEDECA5B48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2019</c:v>
                </c:pt>
              </c:strCache>
            </c:strRef>
          </c:tx>
          <c:spPr>
            <a:ln w="19050" cap="rnd">
              <a:solidFill>
                <a:sysClr val="window" lastClr="FFFFFF">
                  <a:lumMod val="65000"/>
                </a:sysClr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heet1!$A$2:$A$53</c:f>
              <c:strCache>
                <c:ptCount val="52"/>
                <c:pt idx="0">
                  <c:v>Week 1</c:v>
                </c:pt>
                <c:pt idx="1">
                  <c:v>Week 2</c:v>
                </c:pt>
                <c:pt idx="2">
                  <c:v>Week 3</c:v>
                </c:pt>
                <c:pt idx="3">
                  <c:v>Week 4</c:v>
                </c:pt>
                <c:pt idx="4">
                  <c:v>Week 5</c:v>
                </c:pt>
                <c:pt idx="5">
                  <c:v>Week 6</c:v>
                </c:pt>
                <c:pt idx="6">
                  <c:v>Week 7</c:v>
                </c:pt>
                <c:pt idx="7">
                  <c:v>Week 8</c:v>
                </c:pt>
                <c:pt idx="8">
                  <c:v>Week 9</c:v>
                </c:pt>
                <c:pt idx="9">
                  <c:v>Week 10</c:v>
                </c:pt>
                <c:pt idx="10">
                  <c:v>Week 11</c:v>
                </c:pt>
                <c:pt idx="11">
                  <c:v>Week 12</c:v>
                </c:pt>
                <c:pt idx="12">
                  <c:v>Week 13</c:v>
                </c:pt>
                <c:pt idx="13">
                  <c:v>Week 14</c:v>
                </c:pt>
                <c:pt idx="14">
                  <c:v>Week 15</c:v>
                </c:pt>
                <c:pt idx="15">
                  <c:v>Week 16</c:v>
                </c:pt>
                <c:pt idx="16">
                  <c:v>Week 17</c:v>
                </c:pt>
                <c:pt idx="17">
                  <c:v>Week 18</c:v>
                </c:pt>
                <c:pt idx="18">
                  <c:v>Week 19</c:v>
                </c:pt>
                <c:pt idx="19">
                  <c:v>Week 20</c:v>
                </c:pt>
                <c:pt idx="20">
                  <c:v>Week 21</c:v>
                </c:pt>
                <c:pt idx="21">
                  <c:v>Week 22</c:v>
                </c:pt>
                <c:pt idx="22">
                  <c:v>Week 23</c:v>
                </c:pt>
                <c:pt idx="23">
                  <c:v>Week 24</c:v>
                </c:pt>
                <c:pt idx="24">
                  <c:v>Week 25</c:v>
                </c:pt>
                <c:pt idx="25">
                  <c:v>Week 26</c:v>
                </c:pt>
                <c:pt idx="26">
                  <c:v>Week 27</c:v>
                </c:pt>
                <c:pt idx="27">
                  <c:v>Week 28</c:v>
                </c:pt>
                <c:pt idx="28">
                  <c:v>Week 29</c:v>
                </c:pt>
                <c:pt idx="29">
                  <c:v>Week 30</c:v>
                </c:pt>
                <c:pt idx="30">
                  <c:v>Week 31</c:v>
                </c:pt>
                <c:pt idx="31">
                  <c:v>Week 32</c:v>
                </c:pt>
                <c:pt idx="32">
                  <c:v>Week 33</c:v>
                </c:pt>
                <c:pt idx="33">
                  <c:v>Week 34</c:v>
                </c:pt>
                <c:pt idx="34">
                  <c:v>Week 35</c:v>
                </c:pt>
                <c:pt idx="35">
                  <c:v>Week 36</c:v>
                </c:pt>
                <c:pt idx="36">
                  <c:v>Week 37</c:v>
                </c:pt>
                <c:pt idx="37">
                  <c:v>Week 38</c:v>
                </c:pt>
                <c:pt idx="38">
                  <c:v>Week 39</c:v>
                </c:pt>
                <c:pt idx="39">
                  <c:v>Week 40</c:v>
                </c:pt>
                <c:pt idx="40">
                  <c:v>Week 41</c:v>
                </c:pt>
                <c:pt idx="41">
                  <c:v>Week 42</c:v>
                </c:pt>
                <c:pt idx="42">
                  <c:v>Week 43</c:v>
                </c:pt>
                <c:pt idx="43">
                  <c:v>Week 44</c:v>
                </c:pt>
                <c:pt idx="44">
                  <c:v>Week 45</c:v>
                </c:pt>
                <c:pt idx="45">
                  <c:v>Week 46</c:v>
                </c:pt>
                <c:pt idx="46">
                  <c:v>Week 47</c:v>
                </c:pt>
                <c:pt idx="47">
                  <c:v>Week 48</c:v>
                </c:pt>
                <c:pt idx="48">
                  <c:v>Week 49</c:v>
                </c:pt>
                <c:pt idx="49">
                  <c:v>Week 50</c:v>
                </c:pt>
                <c:pt idx="50">
                  <c:v>Week 51</c:v>
                </c:pt>
                <c:pt idx="51">
                  <c:v>Week 52</c:v>
                </c:pt>
              </c:strCache>
            </c:strRef>
          </c:cat>
          <c:val>
            <c:numRef>
              <c:f>Sheet1!$E$2:$E$53</c:f>
              <c:numCache>
                <c:formatCode>#,##0.00000000</c:formatCode>
                <c:ptCount val="52"/>
                <c:pt idx="0">
                  <c:v>1.8002117464071816</c:v>
                </c:pt>
                <c:pt idx="1">
                  <c:v>1.6988705883728783</c:v>
                </c:pt>
                <c:pt idx="2">
                  <c:v>1.6905556863083326</c:v>
                </c:pt>
                <c:pt idx="3">
                  <c:v>1.1881685141790423</c:v>
                </c:pt>
                <c:pt idx="4">
                  <c:v>1.1591036336765228</c:v>
                </c:pt>
                <c:pt idx="5">
                  <c:v>1.4696055830298813</c:v>
                </c:pt>
                <c:pt idx="6">
                  <c:v>1.5275785625218361</c:v>
                </c:pt>
                <c:pt idx="7">
                  <c:v>1.5190367109942944</c:v>
                </c:pt>
                <c:pt idx="8">
                  <c:v>1.4288270403889642</c:v>
                </c:pt>
                <c:pt idx="9">
                  <c:v>1.5617295230187422</c:v>
                </c:pt>
                <c:pt idx="10">
                  <c:v>1.6455758376664478</c:v>
                </c:pt>
                <c:pt idx="11">
                  <c:v>1.5387319774351567</c:v>
                </c:pt>
                <c:pt idx="12">
                  <c:v>1.7290713125645949</c:v>
                </c:pt>
                <c:pt idx="13">
                  <c:v>1.5270139297998897</c:v>
                </c:pt>
                <c:pt idx="14">
                  <c:v>1</c:v>
                </c:pt>
                <c:pt idx="15">
                  <c:v>1.2801521182680795</c:v>
                </c:pt>
                <c:pt idx="16">
                  <c:v>1.6948644369826029</c:v>
                </c:pt>
                <c:pt idx="17">
                  <c:v>1.6874244415435196</c:v>
                </c:pt>
                <c:pt idx="18">
                  <c:v>1.682367963653002</c:v>
                </c:pt>
                <c:pt idx="19">
                  <c:v>2.073194673667869</c:v>
                </c:pt>
                <c:pt idx="20">
                  <c:v>1.7746136011799911</c:v>
                </c:pt>
                <c:pt idx="21">
                  <c:v>1.7460530528174625</c:v>
                </c:pt>
                <c:pt idx="22">
                  <c:v>1.6960320755241034</c:v>
                </c:pt>
                <c:pt idx="23">
                  <c:v>2.074174832218199</c:v>
                </c:pt>
                <c:pt idx="24">
                  <c:v>2.0665429712910757</c:v>
                </c:pt>
                <c:pt idx="25">
                  <c:v>1.6866065463773603</c:v>
                </c:pt>
                <c:pt idx="26">
                  <c:v>1.5847139121117191</c:v>
                </c:pt>
                <c:pt idx="27">
                  <c:v>1.8802964011150856</c:v>
                </c:pt>
                <c:pt idx="28">
                  <c:v>1.8563208897296049</c:v>
                </c:pt>
                <c:pt idx="29">
                  <c:v>1.7221762151115452</c:v>
                </c:pt>
                <c:pt idx="30">
                  <c:v>1.6759739092172912</c:v>
                </c:pt>
                <c:pt idx="31">
                  <c:v>2.0027888105509208</c:v>
                </c:pt>
                <c:pt idx="32">
                  <c:v>2.0214436178594974</c:v>
                </c:pt>
                <c:pt idx="33">
                  <c:v>1.8786518397890282</c:v>
                </c:pt>
                <c:pt idx="34">
                  <c:v>1.7038261998353976</c:v>
                </c:pt>
                <c:pt idx="35">
                  <c:v>1.7728451495673707</c:v>
                </c:pt>
                <c:pt idx="36">
                  <c:v>1.9540955424347985</c:v>
                </c:pt>
                <c:pt idx="37">
                  <c:v>1.7711304202914016</c:v>
                </c:pt>
                <c:pt idx="38">
                  <c:v>1.9267881498027257</c:v>
                </c:pt>
                <c:pt idx="39">
                  <c:v>1.7326115049124875</c:v>
                </c:pt>
                <c:pt idx="40">
                  <c:v>2.0420422966554739</c:v>
                </c:pt>
                <c:pt idx="41">
                  <c:v>2.1738209957124459</c:v>
                </c:pt>
                <c:pt idx="42">
                  <c:v>1.9756338139350624</c:v>
                </c:pt>
                <c:pt idx="43">
                  <c:v>2.1285023674373935</c:v>
                </c:pt>
                <c:pt idx="44">
                  <c:v>3.1380919872586697</c:v>
                </c:pt>
                <c:pt idx="45">
                  <c:v>2.9589071634167698</c:v>
                </c:pt>
                <c:pt idx="46">
                  <c:v>4.2157532894881102</c:v>
                </c:pt>
                <c:pt idx="47">
                  <c:v>5.1570157717085747</c:v>
                </c:pt>
                <c:pt idx="48">
                  <c:v>4.1087701897312128</c:v>
                </c:pt>
                <c:pt idx="49">
                  <c:v>3.348561849393267</c:v>
                </c:pt>
                <c:pt idx="50">
                  <c:v>1.0368250172130753</c:v>
                </c:pt>
                <c:pt idx="51">
                  <c:v>2.09548615425546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1D6-4104-AC43-CAEDECA5B4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82777816"/>
        <c:axId val="582782080"/>
      </c:lineChart>
      <c:catAx>
        <c:axId val="58277781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one"/>
        <c:crossAx val="582782080"/>
        <c:crosses val="autoZero"/>
        <c:auto val="1"/>
        <c:lblAlgn val="ctr"/>
        <c:lblOffset val="100"/>
        <c:noMultiLvlLbl val="0"/>
      </c:catAx>
      <c:valAx>
        <c:axId val="582782080"/>
        <c:scaling>
          <c:orientation val="minMax"/>
        </c:scaling>
        <c:delete val="1"/>
        <c:axPos val="l"/>
        <c:numFmt formatCode="#,##0.00000000" sourceLinked="1"/>
        <c:majorTickMark val="out"/>
        <c:minorTickMark val="none"/>
        <c:tickLblPos val="nextTo"/>
        <c:crossAx val="5827778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P Type Text" panose="020B0503030202060203" pitchFamily="34" charset="0"/>
                <a:ea typeface="+mn-ea"/>
                <a:cs typeface="+mn-cs"/>
              </a:defRPr>
            </a:pPr>
            <a:endParaRPr lang="en-US"/>
          </a:p>
        </c:txPr>
      </c:legendEntry>
      <c:layout>
        <c:manualLayout>
          <c:xMode val="edge"/>
          <c:yMode val="edge"/>
          <c:x val="0.25670754567755361"/>
          <c:y val="0.91902246733825932"/>
          <c:w val="0.48288517318012952"/>
          <c:h val="6.781176055918247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ysClr val="windowText" lastClr="000000"/>
              </a:solidFill>
              <a:latin typeface="AP Type Text" panose="020B0503030202060203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  <a:prstDash val="solid"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E7077D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B796-41C6-ADC1-224C9285F308}"/>
              </c:ext>
            </c:extLst>
          </c:dPt>
          <c:dPt>
            <c:idx val="1"/>
            <c:bubble3D val="0"/>
            <c:spPr>
              <a:solidFill>
                <a:srgbClr val="F199B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796-41C6-ADC1-224C9285F308}"/>
              </c:ext>
            </c:extLst>
          </c:dPt>
          <c:cat>
            <c:strRef>
              <c:f>Sheet1!$A$2:$A$3</c:f>
              <c:strCache>
                <c:ptCount val="2"/>
                <c:pt idx="0">
                  <c:v>Online </c:v>
                </c:pt>
                <c:pt idx="1">
                  <c:v>Offline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>
                  <c:v>0.16800000000000001</c:v>
                </c:pt>
                <c:pt idx="1">
                  <c:v>0.831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96-41C6-ADC1-224C9285F3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007D82"/>
            </a:solidFill>
            <a:ln>
              <a:noFill/>
            </a:ln>
          </c:spPr>
          <c:dPt>
            <c:idx val="0"/>
            <c:bubble3D val="0"/>
            <c:spPr>
              <a:solidFill>
                <a:srgbClr val="007D8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C65-45C4-A9F0-B4BA64A2F378}"/>
              </c:ext>
            </c:extLst>
          </c:dPt>
          <c:dPt>
            <c:idx val="1"/>
            <c:bubble3D val="0"/>
            <c:spPr>
              <a:solidFill>
                <a:srgbClr val="7FBEC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C65-45C4-A9F0-B4BA64A2F378}"/>
              </c:ext>
            </c:extLst>
          </c:dPt>
          <c:dLbls>
            <c:dLbl>
              <c:idx val="0"/>
              <c:layout>
                <c:manualLayout>
                  <c:x val="-0.11596677159719031"/>
                  <c:y val="0.2113445704072050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bg1"/>
                      </a:solidFill>
                      <a:latin typeface="AP Type Text" panose="020B050303020206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C65-45C4-A9F0-B4BA64A2F378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C65-45C4-A9F0-B4BA64A2F37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AP Type Text" panose="020B050303020206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Online</c:v>
                </c:pt>
                <c:pt idx="1">
                  <c:v>In-Store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23</c:v>
                </c:pt>
                <c:pt idx="1">
                  <c:v>0.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C65-45C4-A9F0-B4BA64A2F3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007AAB"/>
            </a:solidFill>
            <a:ln>
              <a:noFill/>
            </a:ln>
          </c:spPr>
          <c:dPt>
            <c:idx val="0"/>
            <c:bubble3D val="0"/>
            <c:spPr>
              <a:solidFill>
                <a:srgbClr val="007AAB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723-4C34-A279-56B0078898EB}"/>
              </c:ext>
            </c:extLst>
          </c:dPt>
          <c:dPt>
            <c:idx val="1"/>
            <c:bubble3D val="0"/>
            <c:spPr>
              <a:solidFill>
                <a:srgbClr val="7FBDD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723-4C34-A279-56B0078898EB}"/>
              </c:ext>
            </c:extLst>
          </c:dPt>
          <c:dLbls>
            <c:dLbl>
              <c:idx val="0"/>
              <c:layout>
                <c:manualLayout>
                  <c:x val="-9.8664815094010608E-2"/>
                  <c:y val="0.2113445704072050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bg1"/>
                      </a:solidFill>
                      <a:latin typeface="AP Type Text" panose="020B050303020206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723-4C34-A279-56B0078898EB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723-4C34-A279-56B0078898E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AP Type Text" panose="020B050303020206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Online</c:v>
                </c:pt>
                <c:pt idx="1">
                  <c:v>In-Store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14000000000000001</c:v>
                </c:pt>
                <c:pt idx="1">
                  <c:v>0.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723-4C34-A279-56B0078898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E5087D"/>
            </a:solidFill>
            <a:ln>
              <a:noFill/>
            </a:ln>
          </c:spPr>
          <c:dPt>
            <c:idx val="0"/>
            <c:bubble3D val="0"/>
            <c:spPr>
              <a:solidFill>
                <a:srgbClr val="E5087D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BD2-4A17-A6AE-2D63B8F53EE0}"/>
              </c:ext>
            </c:extLst>
          </c:dPt>
          <c:dPt>
            <c:idx val="1"/>
            <c:bubble3D val="0"/>
            <c:spPr>
              <a:solidFill>
                <a:srgbClr val="F283BE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BD2-4A17-A6AE-2D63B8F53EE0}"/>
              </c:ext>
            </c:extLst>
          </c:dPt>
          <c:dLbls>
            <c:dLbl>
              <c:idx val="0"/>
              <c:layout>
                <c:manualLayout>
                  <c:x val="-0.11596677159719031"/>
                  <c:y val="0.2113445704072050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bg1"/>
                      </a:solidFill>
                      <a:latin typeface="AP Type Text" panose="020B050303020206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BD2-4A17-A6AE-2D63B8F53EE0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BD2-4A17-A6AE-2D63B8F53EE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AP Type Text" panose="020B050303020206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Online</c:v>
                </c:pt>
                <c:pt idx="1">
                  <c:v>In-Store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19</c:v>
                </c:pt>
                <c:pt idx="1">
                  <c:v>0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BD2-4A17-A6AE-2D63B8F53E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DC1928"/>
            </a:solidFill>
            <a:ln>
              <a:noFill/>
            </a:ln>
          </c:spPr>
          <c:dPt>
            <c:idx val="0"/>
            <c:bubble3D val="0"/>
            <c:spPr>
              <a:solidFill>
                <a:srgbClr val="DC192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8F4-4633-B899-A77E716646FA}"/>
              </c:ext>
            </c:extLst>
          </c:dPt>
          <c:dPt>
            <c:idx val="1"/>
            <c:bubble3D val="0"/>
            <c:spPr>
              <a:solidFill>
                <a:srgbClr val="ED8C9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8F4-4633-B899-A77E716646FA}"/>
              </c:ext>
            </c:extLst>
          </c:dPt>
          <c:dLbls>
            <c:dLbl>
              <c:idx val="0"/>
              <c:layout>
                <c:manualLayout>
                  <c:x val="-0.11596677159719031"/>
                  <c:y val="0.2113445704072050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bg1"/>
                      </a:solidFill>
                      <a:latin typeface="AP Type Text" panose="020B0503030202060203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8F4-4633-B899-A77E716646FA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8F4-4633-B899-A77E716646F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AP Type Text" panose="020B050303020206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Online</c:v>
                </c:pt>
                <c:pt idx="1">
                  <c:v>In-Store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21</c:v>
                </c:pt>
                <c:pt idx="1">
                  <c:v>0.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8F4-4633-B899-A77E716646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145088" cy="3794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726238" y="0"/>
            <a:ext cx="5145087" cy="3794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47072A-34A5-3B48-A527-89A1852D727E}" type="datetimeFigureOut">
              <a:t>4/1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670300" y="946150"/>
            <a:ext cx="4533900" cy="2551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187450" y="3640138"/>
            <a:ext cx="9499600" cy="29781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7183438"/>
            <a:ext cx="5145088" cy="379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726238" y="7183438"/>
            <a:ext cx="5145087" cy="379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8FE110-7F52-9548-84D9-3A27F2B758AA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99216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10258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2250" y="1485900"/>
            <a:ext cx="7118350" cy="40052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FE110-7F52-9548-84D9-3A27F2B758AA}" type="slidenum"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52746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re retailers pulling forward sales events?</a:t>
            </a:r>
          </a:p>
          <a:p>
            <a:r>
              <a:rPr lang="en-US"/>
              <a:t>Are we prolonging sales event?</a:t>
            </a:r>
          </a:p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FE110-7F52-9548-84D9-3A27F2B758AA}" type="slidenum">
              <a:rPr lang="en-AU" smtClean="0"/>
              <a:t>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398001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FE110-7F52-9548-84D9-3A27F2B758AA}" type="slidenum">
              <a:rPr lang="en-AU" smtClean="0"/>
              <a:t>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763517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>
              <a:latin typeface="AP Type Pro Text Medium"/>
              <a:cs typeface="AP Type Pro Text Medium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FE110-7F52-9548-84D9-3A27F2B758AA}" type="slidenum">
              <a:rPr lang="en-AU" smtClean="0"/>
              <a:t>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496072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FE110-7F52-9548-84D9-3A27F2B758AA}" type="slidenum">
              <a:rPr lang="en-AU" smtClean="0"/>
              <a:t>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204080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2250" y="1485900"/>
            <a:ext cx="7118350" cy="40052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FE110-7F52-9548-84D9-3A27F2B758AA}" type="slidenum">
              <a:rPr lang="en-AU" smtClean="0"/>
              <a:t>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46652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FE110-7F52-9548-84D9-3A27F2B758AA}" type="slidenum">
              <a:rPr lang="en-AU" smtClean="0"/>
              <a:t>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311932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7161333" y="0"/>
            <a:ext cx="5040656" cy="685800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10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80" y="1525740"/>
            <a:ext cx="5307704" cy="1039165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4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[Presentation title</a:t>
            </a:r>
            <a:br>
              <a:rPr lang="en-US"/>
            </a:br>
            <a:r>
              <a:rPr lang="en-US"/>
              <a:t>over two lines]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80" y="3786950"/>
            <a:ext cx="5307704" cy="290122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/>
              <a:t>[Author]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5B7AD0AA-3C31-4DF5-B360-73BDF99B82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79" y="478801"/>
            <a:ext cx="2779499" cy="206101"/>
          </a:xfrm>
        </p:spPr>
        <p:txBody>
          <a:bodyPr/>
          <a:lstStyle>
            <a:lvl1pPr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[Date]</a:t>
            </a:r>
            <a:endParaRPr lang="en-AU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F9F4613-3B91-4C84-AAB3-222499F405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80" y="4097558"/>
            <a:ext cx="5307701" cy="26545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b="0"/>
              <a:t>[Business Unit Team]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3E0442F-D5BE-4742-ACD1-B24D71B23C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80" y="2682876"/>
            <a:ext cx="5307704" cy="409066"/>
          </a:xfrm>
        </p:spPr>
        <p:txBody>
          <a:bodyPr/>
          <a:lstStyle>
            <a:lvl1pPr>
              <a:defRPr sz="25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/>
              <a:t>[Presentation subtitle]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-1"/>
          <a:stretch/>
        </p:blipFill>
        <p:spPr>
          <a:xfrm>
            <a:off x="626481" y="6138000"/>
            <a:ext cx="1724625" cy="3672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33124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AU" sz="1400"/>
          </a:p>
        </p:txBody>
      </p:sp>
    </p:spTree>
    <p:extLst>
      <p:ext uri="{BB962C8B-B14F-4D97-AF65-F5344CB8AC3E}">
        <p14:creationId xmlns:p14="http://schemas.microsoft.com/office/powerpoint/2010/main" val="8465503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GREY graphic">
    <p:bg>
      <p:bgPr>
        <a:solidFill>
          <a:srgbClr val="D3D3D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:a16="http://schemas.microsoft.com/office/drawing/2014/main" id="{91064A1B-8518-4B5D-90DF-EB10DD254D3E}"/>
              </a:ext>
            </a:extLst>
          </p:cNvPr>
          <p:cNvSpPr/>
          <p:nvPr/>
        </p:nvSpPr>
        <p:spPr>
          <a:xfrm>
            <a:off x="11102302" y="3090633"/>
            <a:ext cx="915013" cy="1143618"/>
          </a:xfrm>
          <a:custGeom>
            <a:avLst/>
            <a:gdLst>
              <a:gd name="connsiteX0" fmla="*/ 228724 w 914894"/>
              <a:gd name="connsiteY0" fmla="*/ 240160 h 1143617"/>
              <a:gd name="connsiteX1" fmla="*/ 731915 w 914894"/>
              <a:gd name="connsiteY1" fmla="*/ 743351 h 1143617"/>
              <a:gd name="connsiteX2" fmla="*/ 731915 w 914894"/>
              <a:gd name="connsiteY2" fmla="*/ 1246543 h 1143617"/>
              <a:gd name="connsiteX3" fmla="*/ 983511 w 914894"/>
              <a:gd name="connsiteY3" fmla="*/ 1246543 h 1143617"/>
              <a:gd name="connsiteX4" fmla="*/ 983511 w 914894"/>
              <a:gd name="connsiteY4" fmla="*/ 743351 h 1143617"/>
              <a:gd name="connsiteX5" fmla="*/ 240160 w 914894"/>
              <a:gd name="connsiteY5" fmla="*/ 0 h 1143617"/>
              <a:gd name="connsiteX6" fmla="*/ 0 w 914894"/>
              <a:gd name="connsiteY6" fmla="*/ 45745 h 1143617"/>
              <a:gd name="connsiteX7" fmla="*/ 91489 w 914894"/>
              <a:gd name="connsiteY7" fmla="*/ 285904 h 1143617"/>
              <a:gd name="connsiteX8" fmla="*/ 228724 w 914894"/>
              <a:gd name="connsiteY8" fmla="*/ 240160 h 1143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894" h="1143617">
                <a:moveTo>
                  <a:pt x="228724" y="240160"/>
                </a:moveTo>
                <a:cubicBezTo>
                  <a:pt x="503192" y="240160"/>
                  <a:pt x="731915" y="468883"/>
                  <a:pt x="731915" y="743351"/>
                </a:cubicBezTo>
                <a:lnTo>
                  <a:pt x="731915" y="1246543"/>
                </a:lnTo>
                <a:lnTo>
                  <a:pt x="983511" y="1246543"/>
                </a:lnTo>
                <a:lnTo>
                  <a:pt x="983511" y="743351"/>
                </a:lnTo>
                <a:cubicBezTo>
                  <a:pt x="983511" y="331649"/>
                  <a:pt x="651862" y="0"/>
                  <a:pt x="240160" y="0"/>
                </a:cubicBezTo>
                <a:cubicBezTo>
                  <a:pt x="160107" y="0"/>
                  <a:pt x="80053" y="11436"/>
                  <a:pt x="0" y="45745"/>
                </a:cubicBezTo>
                <a:cubicBezTo>
                  <a:pt x="34308" y="114362"/>
                  <a:pt x="68617" y="194415"/>
                  <a:pt x="91489" y="285904"/>
                </a:cubicBezTo>
                <a:cubicBezTo>
                  <a:pt x="125798" y="251596"/>
                  <a:pt x="182979" y="240160"/>
                  <a:pt x="228724" y="240160"/>
                </a:cubicBez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114300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46F6FA98-5541-4E94-AA00-2B76C4B91199}"/>
              </a:ext>
            </a:extLst>
          </p:cNvPr>
          <p:cNvSpPr/>
          <p:nvPr/>
        </p:nvSpPr>
        <p:spPr>
          <a:xfrm>
            <a:off x="8334386" y="3056326"/>
            <a:ext cx="915013" cy="1257979"/>
          </a:xfrm>
          <a:custGeom>
            <a:avLst/>
            <a:gdLst>
              <a:gd name="connsiteX0" fmla="*/ 0 w 914894"/>
              <a:gd name="connsiteY0" fmla="*/ 766224 h 1257979"/>
              <a:gd name="connsiteX1" fmla="*/ 0 w 914894"/>
              <a:gd name="connsiteY1" fmla="*/ 1269415 h 1257979"/>
              <a:gd name="connsiteX2" fmla="*/ 251596 w 914894"/>
              <a:gd name="connsiteY2" fmla="*/ 1269415 h 1257979"/>
              <a:gd name="connsiteX3" fmla="*/ 251596 w 914894"/>
              <a:gd name="connsiteY3" fmla="*/ 766224 h 1257979"/>
              <a:gd name="connsiteX4" fmla="*/ 754788 w 914894"/>
              <a:gd name="connsiteY4" fmla="*/ 263032 h 1257979"/>
              <a:gd name="connsiteX5" fmla="*/ 903458 w 914894"/>
              <a:gd name="connsiteY5" fmla="*/ 285904 h 1257979"/>
              <a:gd name="connsiteX6" fmla="*/ 994947 w 914894"/>
              <a:gd name="connsiteY6" fmla="*/ 45745 h 1257979"/>
              <a:gd name="connsiteX7" fmla="*/ 754788 w 914894"/>
              <a:gd name="connsiteY7" fmla="*/ 0 h 1257979"/>
              <a:gd name="connsiteX8" fmla="*/ 0 w 914894"/>
              <a:gd name="connsiteY8" fmla="*/ 766224 h 1257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14894" h="1257979">
                <a:moveTo>
                  <a:pt x="0" y="766224"/>
                </a:moveTo>
                <a:lnTo>
                  <a:pt x="0" y="1269415"/>
                </a:lnTo>
                <a:lnTo>
                  <a:pt x="251596" y="1269415"/>
                </a:lnTo>
                <a:lnTo>
                  <a:pt x="251596" y="766224"/>
                </a:lnTo>
                <a:cubicBezTo>
                  <a:pt x="251596" y="491755"/>
                  <a:pt x="480319" y="263032"/>
                  <a:pt x="754788" y="263032"/>
                </a:cubicBezTo>
                <a:cubicBezTo>
                  <a:pt x="811968" y="263032"/>
                  <a:pt x="857713" y="274468"/>
                  <a:pt x="903458" y="285904"/>
                </a:cubicBezTo>
                <a:cubicBezTo>
                  <a:pt x="926330" y="205851"/>
                  <a:pt x="949203" y="125798"/>
                  <a:pt x="994947" y="45745"/>
                </a:cubicBezTo>
                <a:cubicBezTo>
                  <a:pt x="914894" y="22872"/>
                  <a:pt x="834841" y="0"/>
                  <a:pt x="754788" y="0"/>
                </a:cubicBezTo>
                <a:cubicBezTo>
                  <a:pt x="343085" y="22872"/>
                  <a:pt x="0" y="354521"/>
                  <a:pt x="0" y="766224"/>
                </a:cubicBez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114300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0171E6E-9B11-473F-9F71-DAFB2E2DA29E}"/>
              </a:ext>
            </a:extLst>
          </p:cNvPr>
          <p:cNvSpPr/>
          <p:nvPr/>
        </p:nvSpPr>
        <p:spPr>
          <a:xfrm>
            <a:off x="7465125" y="3330794"/>
            <a:ext cx="2516287" cy="2515959"/>
          </a:xfrm>
          <a:custGeom>
            <a:avLst/>
            <a:gdLst>
              <a:gd name="connsiteX0" fmla="*/ 251596 w 2515958"/>
              <a:gd name="connsiteY0" fmla="*/ 0 h 2515958"/>
              <a:gd name="connsiteX1" fmla="*/ 0 w 2515958"/>
              <a:gd name="connsiteY1" fmla="*/ 0 h 2515958"/>
              <a:gd name="connsiteX2" fmla="*/ 2618884 w 2515958"/>
              <a:gd name="connsiteY2" fmla="*/ 2618884 h 2515958"/>
              <a:gd name="connsiteX3" fmla="*/ 2618884 w 2515958"/>
              <a:gd name="connsiteY3" fmla="*/ 2367288 h 2515958"/>
              <a:gd name="connsiteX4" fmla="*/ 251596 w 2515958"/>
              <a:gd name="connsiteY4" fmla="*/ 0 h 2515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15958" h="2515958">
                <a:moveTo>
                  <a:pt x="251596" y="0"/>
                </a:moveTo>
                <a:lnTo>
                  <a:pt x="0" y="0"/>
                </a:lnTo>
                <a:cubicBezTo>
                  <a:pt x="68617" y="1418086"/>
                  <a:pt x="1200798" y="2550267"/>
                  <a:pt x="2618884" y="2618884"/>
                </a:cubicBezTo>
                <a:lnTo>
                  <a:pt x="2618884" y="2367288"/>
                </a:lnTo>
                <a:cubicBezTo>
                  <a:pt x="1338033" y="2298671"/>
                  <a:pt x="320213" y="1280852"/>
                  <a:pt x="251596" y="0"/>
                </a:cubicBez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114300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B2A9C5A8-1994-4069-BB14-BE40BFFEF07F}"/>
              </a:ext>
            </a:extLst>
          </p:cNvPr>
          <p:cNvSpPr/>
          <p:nvPr/>
        </p:nvSpPr>
        <p:spPr>
          <a:xfrm>
            <a:off x="7465125" y="460314"/>
            <a:ext cx="2516287" cy="2515959"/>
          </a:xfrm>
          <a:custGeom>
            <a:avLst/>
            <a:gdLst>
              <a:gd name="connsiteX0" fmla="*/ 2618884 w 2515958"/>
              <a:gd name="connsiteY0" fmla="*/ 251596 h 2515958"/>
              <a:gd name="connsiteX1" fmla="*/ 2618884 w 2515958"/>
              <a:gd name="connsiteY1" fmla="*/ 0 h 2515958"/>
              <a:gd name="connsiteX2" fmla="*/ 0 w 2515958"/>
              <a:gd name="connsiteY2" fmla="*/ 2618884 h 2515958"/>
              <a:gd name="connsiteX3" fmla="*/ 251596 w 2515958"/>
              <a:gd name="connsiteY3" fmla="*/ 2618884 h 2515958"/>
              <a:gd name="connsiteX4" fmla="*/ 2618884 w 2515958"/>
              <a:gd name="connsiteY4" fmla="*/ 251596 h 2515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15958" h="2515958">
                <a:moveTo>
                  <a:pt x="2618884" y="251596"/>
                </a:moveTo>
                <a:lnTo>
                  <a:pt x="2618884" y="0"/>
                </a:lnTo>
                <a:cubicBezTo>
                  <a:pt x="1200798" y="68617"/>
                  <a:pt x="68617" y="1200798"/>
                  <a:pt x="0" y="2618884"/>
                </a:cubicBezTo>
                <a:lnTo>
                  <a:pt x="251596" y="2618884"/>
                </a:lnTo>
                <a:cubicBezTo>
                  <a:pt x="320213" y="1338033"/>
                  <a:pt x="1338033" y="320213"/>
                  <a:pt x="2618884" y="251596"/>
                </a:cubicBez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114300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BD92BF1-D631-4694-B216-3C2909F9F0E9}"/>
              </a:ext>
            </a:extLst>
          </p:cNvPr>
          <p:cNvSpPr/>
          <p:nvPr/>
        </p:nvSpPr>
        <p:spPr>
          <a:xfrm>
            <a:off x="8460201" y="1821218"/>
            <a:ext cx="915013" cy="914894"/>
          </a:xfrm>
          <a:custGeom>
            <a:avLst/>
            <a:gdLst>
              <a:gd name="connsiteX0" fmla="*/ 503192 w 914894"/>
              <a:gd name="connsiteY0" fmla="*/ 0 h 914894"/>
              <a:gd name="connsiteX1" fmla="*/ 0 w 914894"/>
              <a:gd name="connsiteY1" fmla="*/ 503192 h 914894"/>
              <a:gd name="connsiteX2" fmla="*/ 503192 w 914894"/>
              <a:gd name="connsiteY2" fmla="*/ 1006384 h 914894"/>
              <a:gd name="connsiteX3" fmla="*/ 1006383 w 914894"/>
              <a:gd name="connsiteY3" fmla="*/ 503192 h 914894"/>
              <a:gd name="connsiteX4" fmla="*/ 503192 w 914894"/>
              <a:gd name="connsiteY4" fmla="*/ 0 h 914894"/>
              <a:gd name="connsiteX5" fmla="*/ 503192 w 914894"/>
              <a:gd name="connsiteY5" fmla="*/ 754788 h 914894"/>
              <a:gd name="connsiteX6" fmla="*/ 251596 w 914894"/>
              <a:gd name="connsiteY6" fmla="*/ 503192 h 914894"/>
              <a:gd name="connsiteX7" fmla="*/ 503192 w 914894"/>
              <a:gd name="connsiteY7" fmla="*/ 251596 h 914894"/>
              <a:gd name="connsiteX8" fmla="*/ 754788 w 914894"/>
              <a:gd name="connsiteY8" fmla="*/ 503192 h 914894"/>
              <a:gd name="connsiteX9" fmla="*/ 503192 w 914894"/>
              <a:gd name="connsiteY9" fmla="*/ 754788 h 914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4894" h="914894">
                <a:moveTo>
                  <a:pt x="503192" y="0"/>
                </a:moveTo>
                <a:cubicBezTo>
                  <a:pt x="228724" y="0"/>
                  <a:pt x="0" y="228724"/>
                  <a:pt x="0" y="503192"/>
                </a:cubicBezTo>
                <a:cubicBezTo>
                  <a:pt x="0" y="777660"/>
                  <a:pt x="228724" y="1006384"/>
                  <a:pt x="503192" y="1006384"/>
                </a:cubicBezTo>
                <a:cubicBezTo>
                  <a:pt x="777660" y="1006384"/>
                  <a:pt x="1006383" y="777660"/>
                  <a:pt x="1006383" y="503192"/>
                </a:cubicBezTo>
                <a:cubicBezTo>
                  <a:pt x="1006383" y="228724"/>
                  <a:pt x="777660" y="0"/>
                  <a:pt x="503192" y="0"/>
                </a:cubicBezTo>
                <a:close/>
                <a:moveTo>
                  <a:pt x="503192" y="754788"/>
                </a:moveTo>
                <a:cubicBezTo>
                  <a:pt x="365958" y="754788"/>
                  <a:pt x="251596" y="640426"/>
                  <a:pt x="251596" y="503192"/>
                </a:cubicBezTo>
                <a:cubicBezTo>
                  <a:pt x="251596" y="365958"/>
                  <a:pt x="365958" y="251596"/>
                  <a:pt x="503192" y="251596"/>
                </a:cubicBezTo>
                <a:cubicBezTo>
                  <a:pt x="640426" y="251596"/>
                  <a:pt x="754788" y="365958"/>
                  <a:pt x="754788" y="503192"/>
                </a:cubicBezTo>
                <a:cubicBezTo>
                  <a:pt x="754788" y="640426"/>
                  <a:pt x="640426" y="754788"/>
                  <a:pt x="503192" y="754788"/>
                </a:cubicBez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114300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BC31A917-C29D-4A67-A167-71625A23BB68}"/>
              </a:ext>
            </a:extLst>
          </p:cNvPr>
          <p:cNvSpPr/>
          <p:nvPr/>
        </p:nvSpPr>
        <p:spPr>
          <a:xfrm>
            <a:off x="10953612" y="1821218"/>
            <a:ext cx="915013" cy="914894"/>
          </a:xfrm>
          <a:custGeom>
            <a:avLst/>
            <a:gdLst>
              <a:gd name="connsiteX0" fmla="*/ 1006383 w 914894"/>
              <a:gd name="connsiteY0" fmla="*/ 503192 h 914894"/>
              <a:gd name="connsiteX1" fmla="*/ 503192 w 914894"/>
              <a:gd name="connsiteY1" fmla="*/ 0 h 914894"/>
              <a:gd name="connsiteX2" fmla="*/ 0 w 914894"/>
              <a:gd name="connsiteY2" fmla="*/ 503192 h 914894"/>
              <a:gd name="connsiteX3" fmla="*/ 503192 w 914894"/>
              <a:gd name="connsiteY3" fmla="*/ 1006384 h 914894"/>
              <a:gd name="connsiteX4" fmla="*/ 1006383 w 914894"/>
              <a:gd name="connsiteY4" fmla="*/ 503192 h 914894"/>
              <a:gd name="connsiteX5" fmla="*/ 251596 w 914894"/>
              <a:gd name="connsiteY5" fmla="*/ 503192 h 914894"/>
              <a:gd name="connsiteX6" fmla="*/ 503192 w 914894"/>
              <a:gd name="connsiteY6" fmla="*/ 251596 h 914894"/>
              <a:gd name="connsiteX7" fmla="*/ 754787 w 914894"/>
              <a:gd name="connsiteY7" fmla="*/ 503192 h 914894"/>
              <a:gd name="connsiteX8" fmla="*/ 503192 w 914894"/>
              <a:gd name="connsiteY8" fmla="*/ 754788 h 914894"/>
              <a:gd name="connsiteX9" fmla="*/ 251596 w 914894"/>
              <a:gd name="connsiteY9" fmla="*/ 503192 h 914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4894" h="914894">
                <a:moveTo>
                  <a:pt x="1006383" y="503192"/>
                </a:moveTo>
                <a:cubicBezTo>
                  <a:pt x="1006383" y="228724"/>
                  <a:pt x="777660" y="0"/>
                  <a:pt x="503192" y="0"/>
                </a:cubicBezTo>
                <a:cubicBezTo>
                  <a:pt x="228724" y="0"/>
                  <a:pt x="0" y="228724"/>
                  <a:pt x="0" y="503192"/>
                </a:cubicBezTo>
                <a:cubicBezTo>
                  <a:pt x="0" y="777660"/>
                  <a:pt x="228724" y="1006384"/>
                  <a:pt x="503192" y="1006384"/>
                </a:cubicBezTo>
                <a:cubicBezTo>
                  <a:pt x="777660" y="1006384"/>
                  <a:pt x="1006383" y="789096"/>
                  <a:pt x="1006383" y="503192"/>
                </a:cubicBezTo>
                <a:close/>
                <a:moveTo>
                  <a:pt x="251596" y="503192"/>
                </a:moveTo>
                <a:cubicBezTo>
                  <a:pt x="251596" y="365958"/>
                  <a:pt x="365958" y="251596"/>
                  <a:pt x="503192" y="251596"/>
                </a:cubicBezTo>
                <a:cubicBezTo>
                  <a:pt x="640426" y="251596"/>
                  <a:pt x="754787" y="365958"/>
                  <a:pt x="754787" y="503192"/>
                </a:cubicBezTo>
                <a:cubicBezTo>
                  <a:pt x="754787" y="640426"/>
                  <a:pt x="640426" y="754788"/>
                  <a:pt x="503192" y="754788"/>
                </a:cubicBezTo>
                <a:cubicBezTo>
                  <a:pt x="365958" y="754788"/>
                  <a:pt x="251596" y="640426"/>
                  <a:pt x="251596" y="503192"/>
                </a:cubicBez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114300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8D3A3A2B-F294-48E3-92E3-8F99E432645F}"/>
              </a:ext>
            </a:extLst>
          </p:cNvPr>
          <p:cNvSpPr/>
          <p:nvPr/>
        </p:nvSpPr>
        <p:spPr>
          <a:xfrm>
            <a:off x="9706906" y="1569622"/>
            <a:ext cx="915013" cy="914894"/>
          </a:xfrm>
          <a:custGeom>
            <a:avLst/>
            <a:gdLst>
              <a:gd name="connsiteX0" fmla="*/ 0 w 914894"/>
              <a:gd name="connsiteY0" fmla="*/ 503192 h 914894"/>
              <a:gd name="connsiteX1" fmla="*/ 503192 w 914894"/>
              <a:gd name="connsiteY1" fmla="*/ 1006383 h 914894"/>
              <a:gd name="connsiteX2" fmla="*/ 1006383 w 914894"/>
              <a:gd name="connsiteY2" fmla="*/ 503192 h 914894"/>
              <a:gd name="connsiteX3" fmla="*/ 503192 w 914894"/>
              <a:gd name="connsiteY3" fmla="*/ 0 h 914894"/>
              <a:gd name="connsiteX4" fmla="*/ 0 w 914894"/>
              <a:gd name="connsiteY4" fmla="*/ 503192 h 914894"/>
              <a:gd name="connsiteX5" fmla="*/ 503192 w 914894"/>
              <a:gd name="connsiteY5" fmla="*/ 251596 h 914894"/>
              <a:gd name="connsiteX6" fmla="*/ 754788 w 914894"/>
              <a:gd name="connsiteY6" fmla="*/ 503192 h 914894"/>
              <a:gd name="connsiteX7" fmla="*/ 503192 w 914894"/>
              <a:gd name="connsiteY7" fmla="*/ 754788 h 914894"/>
              <a:gd name="connsiteX8" fmla="*/ 251596 w 914894"/>
              <a:gd name="connsiteY8" fmla="*/ 503192 h 914894"/>
              <a:gd name="connsiteX9" fmla="*/ 503192 w 914894"/>
              <a:gd name="connsiteY9" fmla="*/ 251596 h 914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4894" h="914894">
                <a:moveTo>
                  <a:pt x="0" y="503192"/>
                </a:moveTo>
                <a:cubicBezTo>
                  <a:pt x="0" y="777660"/>
                  <a:pt x="228724" y="1006383"/>
                  <a:pt x="503192" y="1006383"/>
                </a:cubicBezTo>
                <a:cubicBezTo>
                  <a:pt x="777660" y="1006383"/>
                  <a:pt x="1006383" y="777660"/>
                  <a:pt x="1006383" y="503192"/>
                </a:cubicBezTo>
                <a:cubicBezTo>
                  <a:pt x="1006383" y="228724"/>
                  <a:pt x="777660" y="0"/>
                  <a:pt x="503192" y="0"/>
                </a:cubicBezTo>
                <a:cubicBezTo>
                  <a:pt x="228724" y="11436"/>
                  <a:pt x="0" y="228724"/>
                  <a:pt x="0" y="503192"/>
                </a:cubicBezTo>
                <a:close/>
                <a:moveTo>
                  <a:pt x="503192" y="251596"/>
                </a:moveTo>
                <a:cubicBezTo>
                  <a:pt x="640426" y="251596"/>
                  <a:pt x="754788" y="365958"/>
                  <a:pt x="754788" y="503192"/>
                </a:cubicBezTo>
                <a:cubicBezTo>
                  <a:pt x="754788" y="640426"/>
                  <a:pt x="640426" y="754788"/>
                  <a:pt x="503192" y="754788"/>
                </a:cubicBezTo>
                <a:cubicBezTo>
                  <a:pt x="365957" y="754788"/>
                  <a:pt x="251596" y="640426"/>
                  <a:pt x="251596" y="503192"/>
                </a:cubicBezTo>
                <a:cubicBezTo>
                  <a:pt x="251596" y="365958"/>
                  <a:pt x="365957" y="251596"/>
                  <a:pt x="503192" y="251596"/>
                </a:cubicBez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114300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9C8DDE0A-5C2F-4F0E-8763-C891787D355E}"/>
              </a:ext>
            </a:extLst>
          </p:cNvPr>
          <p:cNvSpPr/>
          <p:nvPr/>
        </p:nvSpPr>
        <p:spPr>
          <a:xfrm>
            <a:off x="9466716" y="2839037"/>
            <a:ext cx="1486897" cy="1715426"/>
          </a:xfrm>
          <a:custGeom>
            <a:avLst/>
            <a:gdLst>
              <a:gd name="connsiteX0" fmla="*/ 1212235 w 1486702"/>
              <a:gd name="connsiteY0" fmla="*/ 594681 h 1715426"/>
              <a:gd name="connsiteX1" fmla="*/ 1235107 w 1486702"/>
              <a:gd name="connsiteY1" fmla="*/ 743351 h 1715426"/>
              <a:gd name="connsiteX2" fmla="*/ 1235107 w 1486702"/>
              <a:gd name="connsiteY2" fmla="*/ 1486703 h 1715426"/>
              <a:gd name="connsiteX3" fmla="*/ 1235107 w 1486702"/>
              <a:gd name="connsiteY3" fmla="*/ 1612501 h 1715426"/>
              <a:gd name="connsiteX4" fmla="*/ 1235107 w 1486702"/>
              <a:gd name="connsiteY4" fmla="*/ 1738299 h 1715426"/>
              <a:gd name="connsiteX5" fmla="*/ 1486703 w 1486702"/>
              <a:gd name="connsiteY5" fmla="*/ 1738299 h 1715426"/>
              <a:gd name="connsiteX6" fmla="*/ 1486703 w 1486702"/>
              <a:gd name="connsiteY6" fmla="*/ 1486703 h 1715426"/>
              <a:gd name="connsiteX7" fmla="*/ 1486703 w 1486702"/>
              <a:gd name="connsiteY7" fmla="*/ 743351 h 1715426"/>
              <a:gd name="connsiteX8" fmla="*/ 1486703 w 1486702"/>
              <a:gd name="connsiteY8" fmla="*/ 663298 h 1715426"/>
              <a:gd name="connsiteX9" fmla="*/ 1406650 w 1486702"/>
              <a:gd name="connsiteY9" fmla="*/ 400266 h 1715426"/>
              <a:gd name="connsiteX10" fmla="*/ 743351 w 1486702"/>
              <a:gd name="connsiteY10" fmla="*/ 0 h 1715426"/>
              <a:gd name="connsiteX11" fmla="*/ 80053 w 1486702"/>
              <a:gd name="connsiteY11" fmla="*/ 400266 h 1715426"/>
              <a:gd name="connsiteX12" fmla="*/ 0 w 1486702"/>
              <a:gd name="connsiteY12" fmla="*/ 663298 h 1715426"/>
              <a:gd name="connsiteX13" fmla="*/ 0 w 1486702"/>
              <a:gd name="connsiteY13" fmla="*/ 743351 h 1715426"/>
              <a:gd name="connsiteX14" fmla="*/ 0 w 1486702"/>
              <a:gd name="connsiteY14" fmla="*/ 1486703 h 1715426"/>
              <a:gd name="connsiteX15" fmla="*/ 0 w 1486702"/>
              <a:gd name="connsiteY15" fmla="*/ 1738299 h 1715426"/>
              <a:gd name="connsiteX16" fmla="*/ 251596 w 1486702"/>
              <a:gd name="connsiteY16" fmla="*/ 1738299 h 1715426"/>
              <a:gd name="connsiteX17" fmla="*/ 251596 w 1486702"/>
              <a:gd name="connsiteY17" fmla="*/ 1612501 h 1715426"/>
              <a:gd name="connsiteX18" fmla="*/ 251596 w 1486702"/>
              <a:gd name="connsiteY18" fmla="*/ 1486703 h 1715426"/>
              <a:gd name="connsiteX19" fmla="*/ 251596 w 1486702"/>
              <a:gd name="connsiteY19" fmla="*/ 743351 h 1715426"/>
              <a:gd name="connsiteX20" fmla="*/ 274468 w 1486702"/>
              <a:gd name="connsiteY20" fmla="*/ 594681 h 1715426"/>
              <a:gd name="connsiteX21" fmla="*/ 743351 w 1486702"/>
              <a:gd name="connsiteY21" fmla="*/ 251596 h 1715426"/>
              <a:gd name="connsiteX22" fmla="*/ 1212235 w 1486702"/>
              <a:gd name="connsiteY22" fmla="*/ 594681 h 1715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486702" h="1715426">
                <a:moveTo>
                  <a:pt x="1212235" y="594681"/>
                </a:moveTo>
                <a:cubicBezTo>
                  <a:pt x="1223671" y="640426"/>
                  <a:pt x="1235107" y="686171"/>
                  <a:pt x="1235107" y="743351"/>
                </a:cubicBezTo>
                <a:lnTo>
                  <a:pt x="1235107" y="1486703"/>
                </a:lnTo>
                <a:lnTo>
                  <a:pt x="1235107" y="1612501"/>
                </a:lnTo>
                <a:lnTo>
                  <a:pt x="1235107" y="1738299"/>
                </a:lnTo>
                <a:lnTo>
                  <a:pt x="1486703" y="1738299"/>
                </a:lnTo>
                <a:lnTo>
                  <a:pt x="1486703" y="1486703"/>
                </a:lnTo>
                <a:lnTo>
                  <a:pt x="1486703" y="743351"/>
                </a:lnTo>
                <a:cubicBezTo>
                  <a:pt x="1486703" y="720479"/>
                  <a:pt x="1486703" y="686171"/>
                  <a:pt x="1486703" y="663298"/>
                </a:cubicBezTo>
                <a:cubicBezTo>
                  <a:pt x="1475267" y="571809"/>
                  <a:pt x="1452394" y="480319"/>
                  <a:pt x="1406650" y="400266"/>
                </a:cubicBezTo>
                <a:cubicBezTo>
                  <a:pt x="1280852" y="160107"/>
                  <a:pt x="1029256" y="0"/>
                  <a:pt x="743351" y="0"/>
                </a:cubicBezTo>
                <a:cubicBezTo>
                  <a:pt x="457447" y="0"/>
                  <a:pt x="205851" y="160107"/>
                  <a:pt x="80053" y="400266"/>
                </a:cubicBezTo>
                <a:cubicBezTo>
                  <a:pt x="34308" y="480319"/>
                  <a:pt x="11436" y="571809"/>
                  <a:pt x="0" y="663298"/>
                </a:cubicBezTo>
                <a:cubicBezTo>
                  <a:pt x="0" y="686171"/>
                  <a:pt x="0" y="720479"/>
                  <a:pt x="0" y="743351"/>
                </a:cubicBezTo>
                <a:lnTo>
                  <a:pt x="0" y="1486703"/>
                </a:lnTo>
                <a:lnTo>
                  <a:pt x="0" y="1738299"/>
                </a:lnTo>
                <a:lnTo>
                  <a:pt x="251596" y="1738299"/>
                </a:lnTo>
                <a:lnTo>
                  <a:pt x="251596" y="1612501"/>
                </a:lnTo>
                <a:lnTo>
                  <a:pt x="251596" y="1486703"/>
                </a:lnTo>
                <a:lnTo>
                  <a:pt x="251596" y="743351"/>
                </a:lnTo>
                <a:cubicBezTo>
                  <a:pt x="251596" y="697607"/>
                  <a:pt x="263032" y="640426"/>
                  <a:pt x="274468" y="594681"/>
                </a:cubicBezTo>
                <a:cubicBezTo>
                  <a:pt x="331649" y="400266"/>
                  <a:pt x="514628" y="251596"/>
                  <a:pt x="743351" y="251596"/>
                </a:cubicBezTo>
                <a:cubicBezTo>
                  <a:pt x="972075" y="251596"/>
                  <a:pt x="1155054" y="400266"/>
                  <a:pt x="1212235" y="594681"/>
                </a:cubicBez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114300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68E1755A-84DC-452D-A5FA-5C7C969A2B60}"/>
              </a:ext>
            </a:extLst>
          </p:cNvPr>
          <p:cNvSpPr/>
          <p:nvPr userDrawn="1"/>
        </p:nvSpPr>
        <p:spPr>
          <a:xfrm>
            <a:off x="10335978" y="460313"/>
            <a:ext cx="1864339" cy="1244020"/>
          </a:xfrm>
          <a:custGeom>
            <a:avLst/>
            <a:gdLst>
              <a:gd name="connsiteX0" fmla="*/ 0 w 1864096"/>
              <a:gd name="connsiteY0" fmla="*/ 0 h 1244020"/>
              <a:gd name="connsiteX1" fmla="*/ 1815494 w 1864096"/>
              <a:gd name="connsiteY1" fmla="*/ 803392 h 1244020"/>
              <a:gd name="connsiteX2" fmla="*/ 1864096 w 1864096"/>
              <a:gd name="connsiteY2" fmla="*/ 856576 h 1244020"/>
              <a:gd name="connsiteX3" fmla="*/ 1864096 w 1864096"/>
              <a:gd name="connsiteY3" fmla="*/ 1244020 h 1244020"/>
              <a:gd name="connsiteX4" fmla="*/ 1789639 w 1864096"/>
              <a:gd name="connsiteY4" fmla="*/ 1146265 h 1244020"/>
              <a:gd name="connsiteX5" fmla="*/ 0 w 1864096"/>
              <a:gd name="connsiteY5" fmla="*/ 251596 h 1244020"/>
              <a:gd name="connsiteX6" fmla="*/ 0 w 1864096"/>
              <a:gd name="connsiteY6" fmla="*/ 0 h 1244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64096" h="1244020">
                <a:moveTo>
                  <a:pt x="0" y="0"/>
                </a:moveTo>
                <a:cubicBezTo>
                  <a:pt x="709044" y="34308"/>
                  <a:pt x="1346610" y="334508"/>
                  <a:pt x="1815494" y="803392"/>
                </a:cubicBezTo>
                <a:lnTo>
                  <a:pt x="1864096" y="856576"/>
                </a:lnTo>
                <a:lnTo>
                  <a:pt x="1864096" y="1244020"/>
                </a:lnTo>
                <a:lnTo>
                  <a:pt x="1789639" y="1146265"/>
                </a:lnTo>
                <a:cubicBezTo>
                  <a:pt x="1357734" y="629124"/>
                  <a:pt x="720479" y="290193"/>
                  <a:pt x="0" y="251596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AU" sz="1400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5BCE6ABD-2611-445A-B821-03CDE1F63892}"/>
              </a:ext>
            </a:extLst>
          </p:cNvPr>
          <p:cNvSpPr/>
          <p:nvPr userDrawn="1"/>
        </p:nvSpPr>
        <p:spPr>
          <a:xfrm>
            <a:off x="10335978" y="4705661"/>
            <a:ext cx="1864339" cy="1244019"/>
          </a:xfrm>
          <a:custGeom>
            <a:avLst/>
            <a:gdLst>
              <a:gd name="connsiteX0" fmla="*/ 1864096 w 1864096"/>
              <a:gd name="connsiteY0" fmla="*/ 0 h 1244019"/>
              <a:gd name="connsiteX1" fmla="*/ 1864096 w 1864096"/>
              <a:gd name="connsiteY1" fmla="*/ 387444 h 1244019"/>
              <a:gd name="connsiteX2" fmla="*/ 1815494 w 1864096"/>
              <a:gd name="connsiteY2" fmla="*/ 440628 h 1244019"/>
              <a:gd name="connsiteX3" fmla="*/ 0 w 1864096"/>
              <a:gd name="connsiteY3" fmla="*/ 1244019 h 1244019"/>
              <a:gd name="connsiteX4" fmla="*/ 0 w 1864096"/>
              <a:gd name="connsiteY4" fmla="*/ 992423 h 1244019"/>
              <a:gd name="connsiteX5" fmla="*/ 1789639 w 1864096"/>
              <a:gd name="connsiteY5" fmla="*/ 97755 h 1244019"/>
              <a:gd name="connsiteX6" fmla="*/ 1864096 w 1864096"/>
              <a:gd name="connsiteY6" fmla="*/ 0 h 1244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64096" h="1244019">
                <a:moveTo>
                  <a:pt x="1864096" y="0"/>
                </a:moveTo>
                <a:lnTo>
                  <a:pt x="1864096" y="387444"/>
                </a:lnTo>
                <a:lnTo>
                  <a:pt x="1815494" y="440628"/>
                </a:lnTo>
                <a:cubicBezTo>
                  <a:pt x="1346610" y="909511"/>
                  <a:pt x="709044" y="1209711"/>
                  <a:pt x="0" y="1244019"/>
                </a:cubicBezTo>
                <a:lnTo>
                  <a:pt x="0" y="992423"/>
                </a:lnTo>
                <a:cubicBezTo>
                  <a:pt x="720479" y="953826"/>
                  <a:pt x="1357734" y="614896"/>
                  <a:pt x="1789639" y="97755"/>
                </a:cubicBezTo>
                <a:lnTo>
                  <a:pt x="1864096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AU" sz="1400"/>
          </a:p>
        </p:txBody>
      </p:sp>
      <p:sp>
        <p:nvSpPr>
          <p:cNvPr id="28" name="Title 3">
            <a:extLst>
              <a:ext uri="{FF2B5EF4-FFF2-40B4-BE49-F238E27FC236}">
                <a16:creationId xmlns:a16="http://schemas.microsoft.com/office/drawing/2014/main" id="{175136E2-497F-4C2E-8F27-A715D2953C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9" y="457200"/>
            <a:ext cx="4190792" cy="1008112"/>
          </a:xfrm>
        </p:spPr>
        <p:txBody>
          <a:bodyPr/>
          <a:lstStyle>
            <a:lvl1pPr>
              <a:defRPr lang="en-AU" sz="4000" b="0" kern="1200" dirty="0">
                <a:solidFill>
                  <a:schemeClr val="bg1"/>
                </a:solidFill>
                <a:latin typeface="+mj-lt"/>
                <a:ea typeface="Roboto" panose="02000000000000000000" pitchFamily="2" charset="0"/>
                <a:cs typeface="+mj-cs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30" name="Text Placeholder 12">
            <a:extLst>
              <a:ext uri="{FF2B5EF4-FFF2-40B4-BE49-F238E27FC236}">
                <a16:creationId xmlns:a16="http://schemas.microsoft.com/office/drawing/2014/main" id="{F11FA99B-2246-4116-93AA-2A8911A707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79" y="1630800"/>
            <a:ext cx="4190792" cy="9144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7C828142-9D98-4604-A7A7-C5E0C51E1C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79" y="5229201"/>
            <a:ext cx="1670268" cy="1800225"/>
          </a:xfrm>
        </p:spPr>
        <p:txBody>
          <a:bodyPr anchor="b"/>
          <a:lstStyle>
            <a:lvl1pPr marL="0"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18000" b="0" kern="1200" dirty="0" smtClean="0">
                <a:solidFill>
                  <a:schemeClr val="bg1"/>
                </a:solidFill>
                <a:latin typeface="+mj-lt"/>
                <a:ea typeface="Roboto" panose="02000000000000000000" pitchFamily="2" charset="0"/>
                <a:cs typeface="+mj-cs"/>
              </a:defRPr>
            </a:lvl1pPr>
            <a:lvl2pPr marL="0" indent="0"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15000" b="0" kern="1200" dirty="0" smtClean="0">
                <a:solidFill>
                  <a:schemeClr val="bg1"/>
                </a:solidFill>
                <a:latin typeface="AP Type Display Medium" panose="020B0603030202060203" pitchFamily="34" charset="0"/>
                <a:ea typeface="Roboto" panose="02000000000000000000" pitchFamily="2" charset="0"/>
                <a:cs typeface="+mj-cs"/>
              </a:defRPr>
            </a:lvl2pPr>
            <a:lvl3pPr marL="0" indent="0"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15000" b="0" kern="1200" dirty="0" smtClean="0">
                <a:solidFill>
                  <a:schemeClr val="bg1"/>
                </a:solidFill>
                <a:latin typeface="AP Type Display Medium" panose="020B0603030202060203" pitchFamily="34" charset="0"/>
                <a:ea typeface="Roboto" panose="02000000000000000000" pitchFamily="2" charset="0"/>
                <a:cs typeface="+mj-cs"/>
              </a:defRPr>
            </a:lvl3pPr>
            <a:lvl4pPr marL="0" indent="0"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15000" b="0" kern="1200" dirty="0" smtClean="0">
                <a:solidFill>
                  <a:schemeClr val="bg1"/>
                </a:solidFill>
                <a:latin typeface="AP Type Display Medium" panose="020B0603030202060203" pitchFamily="34" charset="0"/>
                <a:ea typeface="Roboto" panose="02000000000000000000" pitchFamily="2" charset="0"/>
                <a:cs typeface="+mj-cs"/>
              </a:defRPr>
            </a:lvl4pPr>
          </a:lstStyle>
          <a:p>
            <a:pPr lvl="0"/>
            <a:r>
              <a:rPr lang="en-US"/>
              <a:t>1</a:t>
            </a:r>
            <a:endParaRPr lang="en-AU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C663251-76E4-49A7-8367-9054E950AF7C}"/>
              </a:ext>
            </a:extLst>
          </p:cNvPr>
          <p:cNvCxnSpPr/>
          <p:nvPr userDrawn="1"/>
        </p:nvCxnSpPr>
        <p:spPr>
          <a:xfrm>
            <a:off x="335404" y="457201"/>
            <a:ext cx="0" cy="6048903"/>
          </a:xfrm>
          <a:prstGeom prst="line">
            <a:avLst/>
          </a:prstGeom>
          <a:ln w="127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2" name="Footer Placeholder 1"/>
          <p:cNvSpPr>
            <a:spLocks noGrp="1"/>
          </p:cNvSpPr>
          <p:nvPr>
            <p:ph type="ftr" sz="quarter" idx="17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/>
              <a:t>©            Australia Po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Date Placeholder 2">
            <a:extLst>
              <a:ext uri="{FF2B5EF4-FFF2-40B4-BE49-F238E27FC236}">
                <a16:creationId xmlns:a16="http://schemas.microsoft.com/office/drawing/2014/main" id="{43DB7E07-3E5D-96EA-50C2-C253772139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BD32834D-174D-4E30-BB47-BB8637F9519D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850848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GREY 2">
    <p:bg>
      <p:bgPr>
        <a:solidFill>
          <a:srgbClr val="D3D3D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E49478C-962A-42A2-8DDE-F7F76CFFC7D6}"/>
              </a:ext>
            </a:extLst>
          </p:cNvPr>
          <p:cNvCxnSpPr/>
          <p:nvPr/>
        </p:nvCxnSpPr>
        <p:spPr>
          <a:xfrm>
            <a:off x="6296713" y="457201"/>
            <a:ext cx="0" cy="6048903"/>
          </a:xfrm>
          <a:prstGeom prst="line">
            <a:avLst/>
          </a:prstGeom>
          <a:ln w="127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73A25D-627E-4E0D-A8B5-5C06C871512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33235" y="457201"/>
            <a:ext cx="5055055" cy="2571750"/>
          </a:xfrm>
        </p:spPr>
        <p:txBody>
          <a:bodyPr tIns="3600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500" b="0" i="0" u="none" strike="noStrike" baseline="3000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[Insert section intro here, </a:t>
            </a:r>
            <a:r>
              <a:rPr lang="en-US" err="1"/>
              <a:t>gitatum</a:t>
            </a:r>
            <a:r>
              <a:rPr lang="en-US"/>
              <a:t> </a:t>
            </a:r>
            <a:r>
              <a:rPr lang="en-US" err="1"/>
              <a:t>cust</a:t>
            </a:r>
            <a:r>
              <a:rPr lang="en-US"/>
              <a:t>, </a:t>
            </a:r>
            <a:r>
              <a:rPr lang="en-US" err="1"/>
              <a:t>cullenihit</a:t>
            </a:r>
            <a:r>
              <a:rPr lang="en-US"/>
              <a:t> </a:t>
            </a:r>
            <a:r>
              <a:rPr lang="en-US" err="1"/>
              <a:t>explit</a:t>
            </a:r>
            <a:r>
              <a:rPr lang="en-US"/>
              <a:t> </a:t>
            </a:r>
            <a:r>
              <a:rPr lang="en-US" err="1"/>
              <a:t>occae</a:t>
            </a:r>
            <a:r>
              <a:rPr lang="en-US"/>
              <a:t> voles sit, nobis </a:t>
            </a:r>
            <a:r>
              <a:rPr lang="en-US" err="1"/>
              <a:t>ut</a:t>
            </a:r>
            <a:r>
              <a:rPr lang="en-US"/>
              <a:t> qui quid et </a:t>
            </a:r>
            <a:r>
              <a:rPr lang="en-US" err="1"/>
              <a:t>doluptate</a:t>
            </a:r>
            <a:r>
              <a:rPr lang="en-US"/>
              <a:t> vel et </a:t>
            </a:r>
            <a:r>
              <a:rPr lang="en-US" err="1"/>
              <a:t>isciis</a:t>
            </a:r>
            <a:r>
              <a:rPr lang="en-US"/>
              <a:t> </a:t>
            </a:r>
            <a:r>
              <a:rPr lang="en-US" err="1"/>
              <a:t>eium</a:t>
            </a:r>
            <a:r>
              <a:rPr lang="en-US"/>
              <a:t> a </a:t>
            </a:r>
            <a:r>
              <a:rPr lang="en-US" err="1"/>
              <a:t>apid</a:t>
            </a:r>
            <a:r>
              <a:rPr lang="en-US"/>
              <a:t> </a:t>
            </a:r>
            <a:r>
              <a:rPr lang="en-US" err="1"/>
              <a:t>quat</a:t>
            </a:r>
            <a:r>
              <a:rPr lang="en-US"/>
              <a:t>. </a:t>
            </a:r>
            <a:r>
              <a:rPr lang="en-US" err="1"/>
              <a:t>Damus</a:t>
            </a:r>
            <a:r>
              <a:rPr lang="en-US"/>
              <a:t> sed </a:t>
            </a:r>
            <a:r>
              <a:rPr lang="en-US" err="1"/>
              <a:t>quiam</a:t>
            </a:r>
            <a:r>
              <a:rPr lang="en-US"/>
              <a:t> </a:t>
            </a:r>
            <a:r>
              <a:rPr lang="en-US" err="1"/>
              <a:t>im</a:t>
            </a:r>
            <a:r>
              <a:rPr lang="en-US"/>
              <a:t> </a:t>
            </a:r>
            <a:r>
              <a:rPr lang="en-US" err="1"/>
              <a:t>hilloriam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,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fugiatempel</a:t>
            </a:r>
            <a:r>
              <a:rPr lang="en-US"/>
              <a:t> </a:t>
            </a:r>
            <a:r>
              <a:rPr lang="en-US" err="1"/>
              <a:t>exerciam</a:t>
            </a:r>
            <a:r>
              <a:rPr lang="en-US"/>
              <a:t> is ex </a:t>
            </a:r>
            <a:r>
              <a:rPr lang="en-US" err="1"/>
              <a:t>estis</a:t>
            </a:r>
            <a:r>
              <a:rPr lang="en-US"/>
              <a:t> </a:t>
            </a:r>
            <a:r>
              <a:rPr lang="en-US" err="1"/>
              <a:t>sequia</a:t>
            </a:r>
            <a:r>
              <a:rPr lang="en-US"/>
              <a:t> </a:t>
            </a:r>
            <a:r>
              <a:rPr lang="en-US" err="1"/>
              <a:t>voluptia</a:t>
            </a:r>
            <a:r>
              <a:rPr lang="en-US"/>
              <a:t> cum, commo </a:t>
            </a:r>
            <a:r>
              <a:rPr lang="en-US" err="1"/>
              <a:t>conem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rest, </a:t>
            </a:r>
            <a:r>
              <a:rPr lang="en-US" err="1"/>
              <a:t>corioriae</a:t>
            </a:r>
            <a:r>
              <a:rPr lang="en-US"/>
              <a:t> </a:t>
            </a:r>
            <a:r>
              <a:rPr lang="en-US" err="1"/>
              <a:t>dendi</a:t>
            </a:r>
            <a:r>
              <a:rPr lang="en-US"/>
              <a:t> </a:t>
            </a:r>
            <a:r>
              <a:rPr lang="en-US" err="1"/>
              <a:t>dionseq</a:t>
            </a:r>
            <a:r>
              <a:rPr lang="en-US"/>
              <a:t>.]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3226870-3935-47FC-96FC-443E27ABA40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79" y="5229201"/>
            <a:ext cx="1670268" cy="1800225"/>
          </a:xfrm>
        </p:spPr>
        <p:txBody>
          <a:bodyPr anchor="b"/>
          <a:lstStyle>
            <a:lvl1pPr marL="0"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18000" b="0" kern="1200" dirty="0" smtClean="0">
                <a:solidFill>
                  <a:schemeClr val="bg1"/>
                </a:solidFill>
                <a:latin typeface="+mj-lt"/>
                <a:ea typeface="Roboto" panose="02000000000000000000" pitchFamily="2" charset="0"/>
                <a:cs typeface="+mj-cs"/>
              </a:defRPr>
            </a:lvl1pPr>
            <a:lvl2pPr marL="0" indent="0"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15000" b="0" kern="1200" dirty="0" smtClean="0">
                <a:solidFill>
                  <a:schemeClr val="bg1"/>
                </a:solidFill>
                <a:latin typeface="AP Type Display Medium" panose="020B0603030202060203" pitchFamily="34" charset="0"/>
                <a:ea typeface="Roboto" panose="02000000000000000000" pitchFamily="2" charset="0"/>
                <a:cs typeface="+mj-cs"/>
              </a:defRPr>
            </a:lvl2pPr>
            <a:lvl3pPr marL="0" indent="0"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15000" b="0" kern="1200" dirty="0" smtClean="0">
                <a:solidFill>
                  <a:schemeClr val="bg1"/>
                </a:solidFill>
                <a:latin typeface="AP Type Display Medium" panose="020B0603030202060203" pitchFamily="34" charset="0"/>
                <a:ea typeface="Roboto" panose="02000000000000000000" pitchFamily="2" charset="0"/>
                <a:cs typeface="+mj-cs"/>
              </a:defRPr>
            </a:lvl3pPr>
            <a:lvl4pPr marL="0" indent="0"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15000" b="0" kern="1200" dirty="0" smtClean="0">
                <a:solidFill>
                  <a:schemeClr val="bg1"/>
                </a:solidFill>
                <a:latin typeface="AP Type Display Medium" panose="020B0603030202060203" pitchFamily="34" charset="0"/>
                <a:ea typeface="Roboto" panose="02000000000000000000" pitchFamily="2" charset="0"/>
                <a:cs typeface="+mj-cs"/>
              </a:defRPr>
            </a:lvl4pPr>
          </a:lstStyle>
          <a:p>
            <a:pPr lvl="0"/>
            <a:r>
              <a:rPr lang="en-US"/>
              <a:t>1</a:t>
            </a:r>
            <a:endParaRPr lang="en-AU"/>
          </a:p>
        </p:txBody>
      </p:sp>
      <p:sp>
        <p:nvSpPr>
          <p:cNvPr id="21" name="Title 3">
            <a:extLst>
              <a:ext uri="{FF2B5EF4-FFF2-40B4-BE49-F238E27FC236}">
                <a16:creationId xmlns:a16="http://schemas.microsoft.com/office/drawing/2014/main" id="{2D5AF14E-8CB7-449E-AB9F-D5385A315A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9" y="457200"/>
            <a:ext cx="4190792" cy="1008112"/>
          </a:xfrm>
        </p:spPr>
        <p:txBody>
          <a:bodyPr/>
          <a:lstStyle>
            <a:lvl1pPr>
              <a:defRPr lang="en-AU" sz="4000" b="0" kern="1200" dirty="0">
                <a:solidFill>
                  <a:schemeClr val="bg1"/>
                </a:solidFill>
                <a:latin typeface="+mj-lt"/>
                <a:ea typeface="Roboto" panose="02000000000000000000" pitchFamily="2" charset="0"/>
                <a:cs typeface="+mj-cs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EB9463A6-4406-4EDF-BA92-C5C6D159EF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79" y="1630800"/>
            <a:ext cx="4190792" cy="9144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96A7538-95C5-4A27-B244-8BE6AFDF16EB}"/>
              </a:ext>
            </a:extLst>
          </p:cNvPr>
          <p:cNvCxnSpPr/>
          <p:nvPr userDrawn="1"/>
        </p:nvCxnSpPr>
        <p:spPr>
          <a:xfrm>
            <a:off x="335404" y="457201"/>
            <a:ext cx="0" cy="6048903"/>
          </a:xfrm>
          <a:prstGeom prst="line">
            <a:avLst/>
          </a:prstGeom>
          <a:ln w="127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2" name="Footer Placeholder 1"/>
          <p:cNvSpPr>
            <a:spLocks noGrp="1"/>
          </p:cNvSpPr>
          <p:nvPr>
            <p:ph type="ftr" sz="quarter" idx="17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/>
              <a:t>©            Australia Po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Date Placeholder 2">
            <a:extLst>
              <a:ext uri="{FF2B5EF4-FFF2-40B4-BE49-F238E27FC236}">
                <a16:creationId xmlns:a16="http://schemas.microsoft.com/office/drawing/2014/main" id="{C058C2F1-0886-43BF-3FE3-472DA2DA72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0EEAA09A-F2D9-4001-A6E5-F28F38848029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832114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RED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19F993B-98DB-48E3-ACC3-2734DAA33D13}"/>
              </a:ext>
            </a:extLst>
          </p:cNvPr>
          <p:cNvCxnSpPr/>
          <p:nvPr/>
        </p:nvCxnSpPr>
        <p:spPr>
          <a:xfrm>
            <a:off x="335404" y="457201"/>
            <a:ext cx="0" cy="6048903"/>
          </a:xfrm>
          <a:prstGeom prst="line">
            <a:avLst/>
          </a:prstGeom>
          <a:ln w="12700" cap="sq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137AB263-E3C2-4C31-9BBD-FAE5C2E5FD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79" y="5229201"/>
            <a:ext cx="1670268" cy="1800225"/>
          </a:xfrm>
        </p:spPr>
        <p:txBody>
          <a:bodyPr anchor="b"/>
          <a:lstStyle>
            <a:lvl1pPr marL="0"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18000" b="0" kern="1200" dirty="0" smtClean="0">
                <a:solidFill>
                  <a:srgbClr val="FFFFFF"/>
                </a:solidFill>
                <a:latin typeface="+mj-lt"/>
                <a:ea typeface="Roboto" panose="02000000000000000000" pitchFamily="2" charset="0"/>
                <a:cs typeface="+mj-cs"/>
              </a:defRPr>
            </a:lvl1pPr>
            <a:lvl2pPr marL="0" indent="0"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15000" b="0" kern="1200" dirty="0" smtClean="0">
                <a:solidFill>
                  <a:schemeClr val="bg1"/>
                </a:solidFill>
                <a:latin typeface="AP Type Display Medium" panose="020B0603030202060203" pitchFamily="34" charset="0"/>
                <a:ea typeface="Roboto" panose="02000000000000000000" pitchFamily="2" charset="0"/>
                <a:cs typeface="+mj-cs"/>
              </a:defRPr>
            </a:lvl2pPr>
            <a:lvl3pPr marL="0" indent="0"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15000" b="0" kern="1200" dirty="0" smtClean="0">
                <a:solidFill>
                  <a:schemeClr val="bg1"/>
                </a:solidFill>
                <a:latin typeface="AP Type Display Medium" panose="020B0603030202060203" pitchFamily="34" charset="0"/>
                <a:ea typeface="Roboto" panose="02000000000000000000" pitchFamily="2" charset="0"/>
                <a:cs typeface="+mj-cs"/>
              </a:defRPr>
            </a:lvl3pPr>
            <a:lvl4pPr marL="0" indent="0"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15000" b="0" kern="1200" dirty="0" smtClean="0">
                <a:solidFill>
                  <a:schemeClr val="bg1"/>
                </a:solidFill>
                <a:latin typeface="AP Type Display Medium" panose="020B0603030202060203" pitchFamily="34" charset="0"/>
                <a:ea typeface="Roboto" panose="02000000000000000000" pitchFamily="2" charset="0"/>
                <a:cs typeface="+mj-cs"/>
              </a:defRPr>
            </a:lvl4pPr>
          </a:lstStyle>
          <a:p>
            <a:pPr lvl="0"/>
            <a:r>
              <a:rPr lang="en-US"/>
              <a:t>1</a:t>
            </a:r>
            <a:endParaRPr lang="en-AU"/>
          </a:p>
        </p:txBody>
      </p:sp>
      <p:sp>
        <p:nvSpPr>
          <p:cNvPr id="18" name="Title 3">
            <a:extLst>
              <a:ext uri="{FF2B5EF4-FFF2-40B4-BE49-F238E27FC236}">
                <a16:creationId xmlns:a16="http://schemas.microsoft.com/office/drawing/2014/main" id="{132335C7-A4F8-475B-AF8A-E753F937D5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9" y="457200"/>
            <a:ext cx="4190792" cy="1008112"/>
          </a:xfrm>
        </p:spPr>
        <p:txBody>
          <a:bodyPr/>
          <a:lstStyle>
            <a:lvl1pPr>
              <a:defRPr lang="en-AU" sz="4000" b="0" kern="1200" dirty="0">
                <a:solidFill>
                  <a:srgbClr val="FFFFFF"/>
                </a:solidFill>
                <a:latin typeface="+mj-lt"/>
                <a:ea typeface="Roboto" panose="02000000000000000000" pitchFamily="2" charset="0"/>
                <a:cs typeface="+mj-cs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23F526C9-7895-4122-984B-3CAB41ECFE2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79" y="1630800"/>
            <a:ext cx="4190792" cy="914400"/>
          </a:xfrm>
        </p:spPr>
        <p:txBody>
          <a:bodyPr/>
          <a:lstStyle>
            <a:lvl1pPr>
              <a:defRPr sz="2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7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©            Australia Pos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E2313EE6-3583-52BC-C828-9C13EB4CCAA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342A1181-CB27-4CCA-8BDA-A26F7008DB65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702970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RED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19F993B-98DB-48E3-ACC3-2734DAA33D13}"/>
              </a:ext>
            </a:extLst>
          </p:cNvPr>
          <p:cNvCxnSpPr/>
          <p:nvPr/>
        </p:nvCxnSpPr>
        <p:spPr>
          <a:xfrm>
            <a:off x="335404" y="457201"/>
            <a:ext cx="0" cy="6048903"/>
          </a:xfrm>
          <a:prstGeom prst="line">
            <a:avLst/>
          </a:prstGeom>
          <a:ln w="12700" cap="sq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E49478C-962A-42A2-8DDE-F7F76CFFC7D6}"/>
              </a:ext>
            </a:extLst>
          </p:cNvPr>
          <p:cNvCxnSpPr/>
          <p:nvPr/>
        </p:nvCxnSpPr>
        <p:spPr>
          <a:xfrm>
            <a:off x="6296713" y="457201"/>
            <a:ext cx="0" cy="6048903"/>
          </a:xfrm>
          <a:prstGeom prst="line">
            <a:avLst/>
          </a:prstGeom>
          <a:ln w="12700" cap="sq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D1045FCE-30E0-457C-8FCC-22E3274376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28844" y="473780"/>
            <a:ext cx="5055055" cy="2571750"/>
          </a:xfrm>
        </p:spPr>
        <p:txBody>
          <a:bodyPr tIns="3600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500" b="0" i="0" u="none" strike="noStrike" baseline="30000" smtClean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AU"/>
              <a:t>[Insert section intro here, </a:t>
            </a:r>
            <a:r>
              <a:rPr lang="en-AU" err="1"/>
              <a:t>gitatum</a:t>
            </a:r>
            <a:r>
              <a:rPr lang="en-AU"/>
              <a:t> </a:t>
            </a:r>
            <a:r>
              <a:rPr lang="en-AU" err="1"/>
              <a:t>cust</a:t>
            </a:r>
            <a:r>
              <a:rPr lang="en-AU"/>
              <a:t>, </a:t>
            </a:r>
            <a:r>
              <a:rPr lang="en-AU" err="1"/>
              <a:t>cullenihit</a:t>
            </a:r>
            <a:r>
              <a:rPr lang="en-AU"/>
              <a:t> </a:t>
            </a:r>
            <a:r>
              <a:rPr lang="en-AU" err="1"/>
              <a:t>explit</a:t>
            </a:r>
            <a:r>
              <a:rPr lang="en-AU"/>
              <a:t> </a:t>
            </a:r>
            <a:r>
              <a:rPr lang="en-AU" err="1"/>
              <a:t>occae</a:t>
            </a:r>
            <a:r>
              <a:rPr lang="en-AU"/>
              <a:t> voles sit, nobis </a:t>
            </a:r>
            <a:r>
              <a:rPr lang="en-AU" err="1"/>
              <a:t>ut</a:t>
            </a:r>
            <a:r>
              <a:rPr lang="en-AU"/>
              <a:t> qui quid et </a:t>
            </a:r>
            <a:r>
              <a:rPr lang="en-AU" err="1"/>
              <a:t>doluptate</a:t>
            </a:r>
            <a:r>
              <a:rPr lang="en-AU"/>
              <a:t> vel et </a:t>
            </a:r>
            <a:r>
              <a:rPr lang="en-AU" err="1"/>
              <a:t>isciis</a:t>
            </a:r>
            <a:r>
              <a:rPr lang="en-AU"/>
              <a:t> </a:t>
            </a:r>
            <a:r>
              <a:rPr lang="en-AU" err="1"/>
              <a:t>eium</a:t>
            </a:r>
            <a:r>
              <a:rPr lang="en-AU"/>
              <a:t> a </a:t>
            </a:r>
            <a:r>
              <a:rPr lang="en-AU" err="1"/>
              <a:t>apid</a:t>
            </a:r>
            <a:r>
              <a:rPr lang="en-AU"/>
              <a:t> </a:t>
            </a:r>
            <a:r>
              <a:rPr lang="en-AU" err="1"/>
              <a:t>quat</a:t>
            </a:r>
            <a:r>
              <a:rPr lang="en-AU"/>
              <a:t>. </a:t>
            </a:r>
            <a:r>
              <a:rPr lang="en-AU" err="1"/>
              <a:t>Damus</a:t>
            </a:r>
            <a:r>
              <a:rPr lang="en-AU"/>
              <a:t> sed </a:t>
            </a:r>
            <a:r>
              <a:rPr lang="en-AU" err="1"/>
              <a:t>quiam</a:t>
            </a:r>
            <a:r>
              <a:rPr lang="en-AU"/>
              <a:t> </a:t>
            </a:r>
            <a:r>
              <a:rPr lang="en-AU" err="1"/>
              <a:t>im</a:t>
            </a:r>
            <a:r>
              <a:rPr lang="en-AU"/>
              <a:t> </a:t>
            </a:r>
            <a:r>
              <a:rPr lang="en-AU" err="1"/>
              <a:t>hilloriamus</a:t>
            </a:r>
            <a:r>
              <a:rPr lang="en-AU"/>
              <a:t> </a:t>
            </a:r>
            <a:r>
              <a:rPr lang="en-AU" err="1"/>
              <a:t>est</a:t>
            </a:r>
            <a:r>
              <a:rPr lang="en-AU"/>
              <a:t>, </a:t>
            </a:r>
            <a:r>
              <a:rPr lang="en-AU" err="1"/>
              <a:t>aut</a:t>
            </a:r>
            <a:r>
              <a:rPr lang="en-AU"/>
              <a:t> </a:t>
            </a:r>
            <a:r>
              <a:rPr lang="en-AU" err="1"/>
              <a:t>fugiatempel</a:t>
            </a:r>
            <a:r>
              <a:rPr lang="en-AU"/>
              <a:t> </a:t>
            </a:r>
            <a:r>
              <a:rPr lang="en-AU" err="1"/>
              <a:t>exerciam</a:t>
            </a:r>
            <a:r>
              <a:rPr lang="en-AU"/>
              <a:t> is ex </a:t>
            </a:r>
            <a:r>
              <a:rPr lang="en-AU" err="1"/>
              <a:t>estis</a:t>
            </a:r>
            <a:r>
              <a:rPr lang="en-AU"/>
              <a:t> </a:t>
            </a:r>
            <a:r>
              <a:rPr lang="en-AU" err="1"/>
              <a:t>sequia</a:t>
            </a:r>
            <a:r>
              <a:rPr lang="en-AU"/>
              <a:t> </a:t>
            </a:r>
            <a:r>
              <a:rPr lang="en-AU" err="1"/>
              <a:t>voluptia</a:t>
            </a:r>
            <a:r>
              <a:rPr lang="en-AU"/>
              <a:t> cum, commo </a:t>
            </a:r>
            <a:r>
              <a:rPr lang="en-AU" err="1"/>
              <a:t>conem</a:t>
            </a:r>
            <a:r>
              <a:rPr lang="en-AU"/>
              <a:t> </a:t>
            </a:r>
            <a:r>
              <a:rPr lang="en-AU" err="1"/>
              <a:t>aut</a:t>
            </a:r>
            <a:r>
              <a:rPr lang="en-AU"/>
              <a:t> </a:t>
            </a:r>
            <a:r>
              <a:rPr lang="en-AU" err="1"/>
              <a:t>ut</a:t>
            </a:r>
            <a:r>
              <a:rPr lang="en-AU"/>
              <a:t> rest, </a:t>
            </a:r>
            <a:r>
              <a:rPr lang="en-AU" err="1"/>
              <a:t>corioriae</a:t>
            </a:r>
            <a:r>
              <a:rPr lang="en-AU"/>
              <a:t> </a:t>
            </a:r>
            <a:r>
              <a:rPr lang="en-AU" err="1"/>
              <a:t>dendi</a:t>
            </a:r>
            <a:r>
              <a:rPr lang="en-AU"/>
              <a:t> </a:t>
            </a:r>
            <a:r>
              <a:rPr lang="en-AU" err="1"/>
              <a:t>dionseq</a:t>
            </a:r>
            <a:r>
              <a:rPr lang="en-AU"/>
              <a:t>.]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EABF07B-97AE-4E19-9FCC-8202FAD1E68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79" y="5229201"/>
            <a:ext cx="1670268" cy="1800225"/>
          </a:xfrm>
        </p:spPr>
        <p:txBody>
          <a:bodyPr anchor="b"/>
          <a:lstStyle>
            <a:lvl1pPr marL="0"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18000" b="0" kern="1200" dirty="0" smtClean="0">
                <a:solidFill>
                  <a:srgbClr val="FFFFFF"/>
                </a:solidFill>
                <a:latin typeface="+mj-lt"/>
                <a:ea typeface="Roboto" panose="02000000000000000000" pitchFamily="2" charset="0"/>
                <a:cs typeface="+mj-cs"/>
              </a:defRPr>
            </a:lvl1pPr>
            <a:lvl2pPr marL="0" indent="0"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15000" b="0" kern="1200" dirty="0" smtClean="0">
                <a:solidFill>
                  <a:schemeClr val="bg1"/>
                </a:solidFill>
                <a:latin typeface="AP Type Display Medium" panose="020B0603030202060203" pitchFamily="34" charset="0"/>
                <a:ea typeface="Roboto" panose="02000000000000000000" pitchFamily="2" charset="0"/>
                <a:cs typeface="+mj-cs"/>
              </a:defRPr>
            </a:lvl2pPr>
            <a:lvl3pPr marL="0" indent="0"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15000" b="0" kern="1200" dirty="0" smtClean="0">
                <a:solidFill>
                  <a:schemeClr val="bg1"/>
                </a:solidFill>
                <a:latin typeface="AP Type Display Medium" panose="020B0603030202060203" pitchFamily="34" charset="0"/>
                <a:ea typeface="Roboto" panose="02000000000000000000" pitchFamily="2" charset="0"/>
                <a:cs typeface="+mj-cs"/>
              </a:defRPr>
            </a:lvl3pPr>
            <a:lvl4pPr marL="0" indent="0"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15000" b="0" kern="1200" dirty="0" smtClean="0">
                <a:solidFill>
                  <a:schemeClr val="bg1"/>
                </a:solidFill>
                <a:latin typeface="AP Type Display Medium" panose="020B0603030202060203" pitchFamily="34" charset="0"/>
                <a:ea typeface="Roboto" panose="02000000000000000000" pitchFamily="2" charset="0"/>
                <a:cs typeface="+mj-cs"/>
              </a:defRPr>
            </a:lvl4pPr>
          </a:lstStyle>
          <a:p>
            <a:pPr lvl="0"/>
            <a:r>
              <a:rPr lang="en-US"/>
              <a:t>1</a:t>
            </a:r>
            <a:endParaRPr lang="en-AU"/>
          </a:p>
        </p:txBody>
      </p:sp>
      <p:sp>
        <p:nvSpPr>
          <p:cNvPr id="24" name="Title 3">
            <a:extLst>
              <a:ext uri="{FF2B5EF4-FFF2-40B4-BE49-F238E27FC236}">
                <a16:creationId xmlns:a16="http://schemas.microsoft.com/office/drawing/2014/main" id="{39F6C5D5-B379-4A0E-AE39-E19871AF37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9" y="457200"/>
            <a:ext cx="4190792" cy="1008112"/>
          </a:xfrm>
        </p:spPr>
        <p:txBody>
          <a:bodyPr/>
          <a:lstStyle>
            <a:lvl1pPr>
              <a:defRPr lang="en-AU" sz="4000" b="0" kern="1200" dirty="0">
                <a:solidFill>
                  <a:srgbClr val="FFFFFF"/>
                </a:solidFill>
                <a:latin typeface="+mj-lt"/>
                <a:ea typeface="Roboto" panose="02000000000000000000" pitchFamily="2" charset="0"/>
                <a:cs typeface="+mj-cs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FDCB653B-7627-4BBC-9318-10689D01326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79" y="1630800"/>
            <a:ext cx="4190792" cy="914400"/>
          </a:xfrm>
        </p:spPr>
        <p:txBody>
          <a:bodyPr/>
          <a:lstStyle>
            <a:lvl1pPr>
              <a:defRPr sz="20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7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©            Australia Pos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Date Placeholder 2">
            <a:extLst>
              <a:ext uri="{FF2B5EF4-FFF2-40B4-BE49-F238E27FC236}">
                <a16:creationId xmlns:a16="http://schemas.microsoft.com/office/drawing/2014/main" id="{39A85512-0F4E-C667-DC2B-A9D7531C760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05CE1A88-1907-4552-8AF8-A487A8BF5841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04768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P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19F993B-98DB-48E3-ACC3-2734DAA33D13}"/>
              </a:ext>
            </a:extLst>
          </p:cNvPr>
          <p:cNvCxnSpPr/>
          <p:nvPr/>
        </p:nvCxnSpPr>
        <p:spPr>
          <a:xfrm>
            <a:off x="335404" y="457201"/>
            <a:ext cx="0" cy="6048903"/>
          </a:xfrm>
          <a:prstGeom prst="line">
            <a:avLst/>
          </a:prstGeom>
          <a:ln w="127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E94CD0F8-65BC-4C8F-8BEB-2D4A00B429C9}"/>
              </a:ext>
            </a:extLst>
          </p:cNvPr>
          <p:cNvSpPr/>
          <p:nvPr userDrawn="1"/>
        </p:nvSpPr>
        <p:spPr>
          <a:xfrm>
            <a:off x="579824" y="332657"/>
            <a:ext cx="170132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0" kern="1200">
                <a:solidFill>
                  <a:schemeClr val="bg1"/>
                </a:solidFill>
                <a:latin typeface="+mj-lt"/>
                <a:ea typeface="Roboto" panose="02000000000000000000" pitchFamily="2" charset="0"/>
                <a:cs typeface="+mj-cs"/>
              </a:rPr>
              <a:t>Agenda</a:t>
            </a:r>
            <a:endParaRPr lang="en-AU" sz="3200" b="0" kern="1200">
              <a:solidFill>
                <a:schemeClr val="bg1"/>
              </a:solidFill>
              <a:latin typeface="+mj-lt"/>
              <a:ea typeface="Roboto" panose="02000000000000000000" pitchFamily="2" charset="0"/>
              <a:cs typeface="+mj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/>
              <a:t>©            Australia Po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07D5F237-A6ED-3EB7-CAF9-F57E219B9A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082587B8-2737-4F74-A9A4-D1AF5F9DF071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351207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80" y="1472400"/>
            <a:ext cx="10974229" cy="4692904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0C812181-3A43-44E3-9150-CEBC46E2E4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7" y="457200"/>
            <a:ext cx="10974229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3BFC3DD1-C3AE-4162-8B70-8F906900B8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77" y="943199"/>
            <a:ext cx="10974229" cy="324000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©            Australia Po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5096B6B1-AF2A-972C-56D1-7460A3EFBF7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95A5C29-D109-47AD-8CD0-3B4271E94E6B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462730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ody copy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80" y="1472400"/>
            <a:ext cx="5271086" cy="4692904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0C812181-3A43-44E3-9150-CEBC46E2E4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7" y="457200"/>
            <a:ext cx="10974229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3BFC3DD1-C3AE-4162-8B70-8F906900B8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77" y="943199"/>
            <a:ext cx="10974229" cy="324000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©            Australia Po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idx="20"/>
          </p:nvPr>
        </p:nvSpPr>
        <p:spPr>
          <a:xfrm>
            <a:off x="6311622" y="1472400"/>
            <a:ext cx="5271086" cy="4692904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B90D862B-CCCD-16BA-60CD-F4202BEF9A0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EC481269-C248-42EA-B872-9484658934D1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627734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80" y="1472400"/>
            <a:ext cx="10974229" cy="4692904"/>
          </a:xfrm>
          <a:prstGeom prst="rect">
            <a:avLst/>
          </a:prstGeom>
        </p:spPr>
        <p:txBody>
          <a:bodyPr/>
          <a:lstStyle>
            <a:lvl1pPr marL="360000" indent="-36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>
                <a:latin typeface="+mn-lt"/>
              </a:defRPr>
            </a:lvl1pPr>
            <a:lvl2pPr marL="630000" indent="-270000">
              <a:spcBef>
                <a:spcPts val="300"/>
              </a:spcBef>
              <a:spcAft>
                <a:spcPts val="900"/>
              </a:spcAft>
              <a:buFont typeface="Arial" panose="020B0604020202020204" pitchFamily="34" charset="0"/>
              <a:buChar char="–"/>
              <a:defRPr>
                <a:latin typeface="+mn-lt"/>
              </a:defRPr>
            </a:lvl2pPr>
            <a:lvl3pPr marL="900000" indent="-270000">
              <a:spcAft>
                <a:spcPts val="900"/>
              </a:spcAft>
              <a:buFont typeface="Arial" panose="020B0604020202020204" pitchFamily="34" charset="0"/>
              <a:buChar char="◦"/>
              <a:defRPr>
                <a:latin typeface="+mn-lt"/>
              </a:defRPr>
            </a:lvl3pPr>
            <a:lvl4pPr marL="360000" indent="0">
              <a:buNone/>
              <a:defRPr>
                <a:latin typeface="+mn-lt"/>
              </a:defRPr>
            </a:lvl4pPr>
            <a:lvl5pPr marL="540000" indent="0">
              <a:buNone/>
              <a:defRPr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0C812181-3A43-44E3-9150-CEBC46E2E4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7" y="457200"/>
            <a:ext cx="10974229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3BFC3DD1-C3AE-4162-8B70-8F906900B8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77" y="943199"/>
            <a:ext cx="10974229" cy="324000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©            Australia Po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F8992D24-2BF3-DB35-7614-194914452A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E45A00A-80AF-48F3-8077-BA04E213EBF0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449618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9ED9C03-4C73-4144-9A0D-023D40CDD32F}"/>
              </a:ext>
            </a:extLst>
          </p:cNvPr>
          <p:cNvSpPr/>
          <p:nvPr userDrawn="1"/>
        </p:nvSpPr>
        <p:spPr>
          <a:xfrm>
            <a:off x="0" y="1472400"/>
            <a:ext cx="12193588" cy="5385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AU" sz="14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80" y="2350800"/>
            <a:ext cx="10974229" cy="3816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0C812181-3A43-44E3-9150-CEBC46E2E4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7" y="457200"/>
            <a:ext cx="10974229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3BFC3DD1-C3AE-4162-8B70-8F906900B8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77" y="943199"/>
            <a:ext cx="10974229" cy="324000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©            Australia Po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B01FAED6-AF70-3724-4725-AC3EAC11DE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A5734D3C-765D-4A5F-981E-B56C1665B155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47335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Graph Whit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80" y="2350800"/>
            <a:ext cx="10974229" cy="3816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0C812181-3A43-44E3-9150-CEBC46E2E4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7" y="457200"/>
            <a:ext cx="10974229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3BFC3DD1-C3AE-4162-8B70-8F906900B8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77" y="943199"/>
            <a:ext cx="10974229" cy="324000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©            Australia Po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3B9C5840-C03A-1E28-5BAF-40785B9943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54BA0CEE-1E27-4256-80EB-F1C10B6AE401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33522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 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7161333" y="0"/>
            <a:ext cx="5040656" cy="685800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10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80" y="1525740"/>
            <a:ext cx="5307704" cy="1039165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4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[Presentation title</a:t>
            </a:r>
            <a:br>
              <a:rPr lang="en-US"/>
            </a:br>
            <a:r>
              <a:rPr lang="en-US"/>
              <a:t>over two lines]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80" y="3786950"/>
            <a:ext cx="5307704" cy="290122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/>
              <a:t>[Author]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5B7AD0AA-3C31-4DF5-B360-73BDF99B82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79" y="478801"/>
            <a:ext cx="2779499" cy="206101"/>
          </a:xfrm>
        </p:spPr>
        <p:txBody>
          <a:bodyPr/>
          <a:lstStyle>
            <a:lvl1pPr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[Date]</a:t>
            </a:r>
            <a:endParaRPr lang="en-AU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F9F4613-3B91-4C84-AAB3-222499F405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80" y="4097558"/>
            <a:ext cx="5307701" cy="26545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b="0"/>
              <a:t>[Business Unit Team]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3E0442F-D5BE-4742-ACD1-B24D71B23C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80" y="2682876"/>
            <a:ext cx="5307704" cy="409066"/>
          </a:xfrm>
        </p:spPr>
        <p:txBody>
          <a:bodyPr/>
          <a:lstStyle>
            <a:lvl1pPr>
              <a:defRPr sz="25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/>
              <a:t>[Presentation subtitle]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33124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AU" sz="140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482" y="6138000"/>
            <a:ext cx="1697925" cy="3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3674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9ED9C03-4C73-4144-9A0D-023D40CDD32F}"/>
              </a:ext>
            </a:extLst>
          </p:cNvPr>
          <p:cNvSpPr/>
          <p:nvPr userDrawn="1"/>
        </p:nvSpPr>
        <p:spPr>
          <a:xfrm>
            <a:off x="0" y="1472400"/>
            <a:ext cx="12193588" cy="5385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AU" sz="14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80" y="2350800"/>
            <a:ext cx="5271086" cy="3816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0C812181-3A43-44E3-9150-CEBC46E2E4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7" y="457200"/>
            <a:ext cx="10974229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3BFC3DD1-C3AE-4162-8B70-8F906900B8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77" y="943199"/>
            <a:ext cx="10974229" cy="324000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©            Australia Po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20"/>
          </p:nvPr>
        </p:nvSpPr>
        <p:spPr>
          <a:xfrm>
            <a:off x="6311622" y="2350800"/>
            <a:ext cx="5271086" cy="3816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Date Placeholder 2">
            <a:extLst>
              <a:ext uri="{FF2B5EF4-FFF2-40B4-BE49-F238E27FC236}">
                <a16:creationId xmlns:a16="http://schemas.microsoft.com/office/drawing/2014/main" id="{0E6023EA-3873-5320-E2C3-A3C7586B10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B724564A-7ABE-44E5-AB65-88A5B1E18117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745186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Graphs Whit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80" y="2350800"/>
            <a:ext cx="5271086" cy="3816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0C812181-3A43-44E3-9150-CEBC46E2E4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7" y="457200"/>
            <a:ext cx="10974229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3BFC3DD1-C3AE-4162-8B70-8F906900B8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77" y="943199"/>
            <a:ext cx="10974229" cy="324000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©            Australia Po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20"/>
          </p:nvPr>
        </p:nvSpPr>
        <p:spPr>
          <a:xfrm>
            <a:off x="6311622" y="2350800"/>
            <a:ext cx="5271086" cy="3816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Date Placeholder 2">
            <a:extLst>
              <a:ext uri="{FF2B5EF4-FFF2-40B4-BE49-F238E27FC236}">
                <a16:creationId xmlns:a16="http://schemas.microsoft.com/office/drawing/2014/main" id="{EEAA85CF-FF45-6DAF-2F48-C841CACA316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E6A12FFA-D2FC-4452-84BF-B9FD970D3944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633623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head and Two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9ED9C03-4C73-4144-9A0D-023D40CDD32F}"/>
              </a:ext>
            </a:extLst>
          </p:cNvPr>
          <p:cNvSpPr/>
          <p:nvPr userDrawn="1"/>
        </p:nvSpPr>
        <p:spPr>
          <a:xfrm>
            <a:off x="0" y="1472400"/>
            <a:ext cx="12193588" cy="5385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AU" sz="14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80" y="2350800"/>
            <a:ext cx="5271086" cy="3816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0C812181-3A43-44E3-9150-CEBC46E2E4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7" y="457200"/>
            <a:ext cx="10974229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3BFC3DD1-C3AE-4162-8B70-8F906900B8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77" y="943199"/>
            <a:ext cx="10974229" cy="324000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©            Australia Po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20"/>
          </p:nvPr>
        </p:nvSpPr>
        <p:spPr>
          <a:xfrm>
            <a:off x="6311622" y="2350800"/>
            <a:ext cx="5271086" cy="3816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F16D48E7-3052-418D-B528-3DDD0A415F9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11622" y="1764000"/>
            <a:ext cx="5271086" cy="540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F16D48E7-3052-418D-B528-3DDD0A415F9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678" y="1764000"/>
            <a:ext cx="5271086" cy="540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2">
            <a:extLst>
              <a:ext uri="{FF2B5EF4-FFF2-40B4-BE49-F238E27FC236}">
                <a16:creationId xmlns:a16="http://schemas.microsoft.com/office/drawing/2014/main" id="{3A46EE96-029F-1755-0FDB-1A23E86C527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8494EB4E-7E18-418F-9C60-11A98FAC47E5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729735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head and Two Graphs Whit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80" y="2350800"/>
            <a:ext cx="5271086" cy="3816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0C812181-3A43-44E3-9150-CEBC46E2E4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7" y="457200"/>
            <a:ext cx="10974229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3BFC3DD1-C3AE-4162-8B70-8F906900B8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77" y="943199"/>
            <a:ext cx="10974229" cy="324000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©            Australia Po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20"/>
          </p:nvPr>
        </p:nvSpPr>
        <p:spPr>
          <a:xfrm>
            <a:off x="6311622" y="2350800"/>
            <a:ext cx="5271086" cy="3816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F16D48E7-3052-418D-B528-3DDD0A415F9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11622" y="1764000"/>
            <a:ext cx="5271086" cy="540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F16D48E7-3052-418D-B528-3DDD0A415F9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678" y="1764000"/>
            <a:ext cx="5271086" cy="540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2">
            <a:extLst>
              <a:ext uri="{FF2B5EF4-FFF2-40B4-BE49-F238E27FC236}">
                <a16:creationId xmlns:a16="http://schemas.microsoft.com/office/drawing/2014/main" id="{E8B3F588-1F8C-00FD-B8A5-F1BC937639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85D990D5-3EB7-4B93-939C-86615B9A5387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079470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6794" y="0"/>
            <a:ext cx="6096794" cy="685800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3755730E-7CB4-40B1-8E34-72307BDEE6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9" y="457200"/>
            <a:ext cx="5041215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0C3E6562-1605-4A9F-9FCE-36444591A1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79" y="943199"/>
            <a:ext cx="5041215" cy="324000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9ECE21-CCC5-4AEF-907D-6098CAD3D90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6504" y="1472400"/>
            <a:ext cx="5044145" cy="469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AU"/>
              <a:t>©            Australia Pos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Date Placeholder 2">
            <a:extLst>
              <a:ext uri="{FF2B5EF4-FFF2-40B4-BE49-F238E27FC236}">
                <a16:creationId xmlns:a16="http://schemas.microsoft.com/office/drawing/2014/main" id="{3B7F663F-38E8-D463-F400-835EFE4A01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rgbClr val="FFFFFF"/>
                </a:solidFill>
              </a:defRPr>
            </a:lvl1pPr>
          </a:lstStyle>
          <a:p>
            <a:fld id="{C2CADBB3-C2BB-4749-9B32-86B16366BAB3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828253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528903" y="457201"/>
            <a:ext cx="5055005" cy="4916016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3755730E-7CB4-40B1-8E34-72307BDEE6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9" y="457200"/>
            <a:ext cx="5487114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0C3E6562-1605-4A9F-9FCE-36444591A1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79" y="943199"/>
            <a:ext cx="5487114" cy="324000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9ECE21-CCC5-4AEF-907D-6098CAD3D90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6503" y="1742400"/>
            <a:ext cx="5490290" cy="44229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C5AED8-7BA4-431D-9265-A6D9A361B7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28902" y="5516563"/>
            <a:ext cx="5053806" cy="360709"/>
          </a:xfrm>
        </p:spPr>
        <p:txBody>
          <a:bodyPr/>
          <a:lstStyle>
            <a:lvl1pPr>
              <a:defRPr sz="1000" b="0">
                <a:latin typeface="+mn-lt"/>
              </a:defRPr>
            </a:lvl1pPr>
          </a:lstStyle>
          <a:p>
            <a:pPr lvl="0"/>
            <a:r>
              <a:rPr lang="en-US"/>
              <a:t>Insert here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©            Australia Pos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Date Placeholder 2">
            <a:extLst>
              <a:ext uri="{FF2B5EF4-FFF2-40B4-BE49-F238E27FC236}">
                <a16:creationId xmlns:a16="http://schemas.microsoft.com/office/drawing/2014/main" id="{DBB76704-A53F-A440-2B82-79FB378B850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8297D62-2D0B-484D-8A38-5BC61DA80C65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3318821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528903" y="3239456"/>
            <a:ext cx="5055005" cy="2232249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3755730E-7CB4-40B1-8E34-72307BDEE6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9" y="457200"/>
            <a:ext cx="5487114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0C3E6562-1605-4A9F-9FCE-36444591A1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79" y="943199"/>
            <a:ext cx="5487114" cy="324000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9ECE21-CCC5-4AEF-907D-6098CAD3D90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6503" y="1742400"/>
            <a:ext cx="5490290" cy="442290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4621F005-1B3C-4B6C-AF32-5A97AE67D35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528903" y="422551"/>
            <a:ext cx="5055005" cy="2232249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E323DA0-8C95-4A1A-BF06-B7C6717ECEB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28902" y="5588621"/>
            <a:ext cx="5053806" cy="360709"/>
          </a:xfrm>
        </p:spPr>
        <p:txBody>
          <a:bodyPr/>
          <a:lstStyle>
            <a:lvl1pPr>
              <a:defRPr sz="1000" b="0"/>
            </a:lvl1pPr>
          </a:lstStyle>
          <a:p>
            <a:pPr lvl="0"/>
            <a:r>
              <a:rPr lang="en-US"/>
              <a:t>Insert here</a:t>
            </a:r>
            <a:endParaRPr lang="en-AU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55A4607-E768-4701-ADC9-9E665E69553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28902" y="2791124"/>
            <a:ext cx="5053806" cy="360709"/>
          </a:xfrm>
        </p:spPr>
        <p:txBody>
          <a:bodyPr/>
          <a:lstStyle>
            <a:lvl1pPr>
              <a:defRPr sz="1000" b="0"/>
            </a:lvl1pPr>
          </a:lstStyle>
          <a:p>
            <a:pPr lvl="0"/>
            <a:r>
              <a:rPr lang="en-US"/>
              <a:t>Insert here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©            Australia Pos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Date Placeholder 2">
            <a:extLst>
              <a:ext uri="{FF2B5EF4-FFF2-40B4-BE49-F238E27FC236}">
                <a16:creationId xmlns:a16="http://schemas.microsoft.com/office/drawing/2014/main" id="{184FC3A6-26BF-DE8E-F7FA-812443644C1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7E9C1800-AA33-4896-B022-0A19EBE553D3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700387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>
            <a:extLst>
              <a:ext uri="{FF2B5EF4-FFF2-40B4-BE49-F238E27FC236}">
                <a16:creationId xmlns:a16="http://schemas.microsoft.com/office/drawing/2014/main" id="{8491AA20-E28F-4358-90D1-16950CC637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9" y="457200"/>
            <a:ext cx="5271063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6E6F5038-21F2-4E2D-B8A2-3B6621743C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79" y="943199"/>
            <a:ext cx="5271063" cy="324000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111CDAD4-7E5E-4E71-A81B-0AFC199276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79" y="3052800"/>
            <a:ext cx="5271187" cy="3112504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44F44D58-7AD2-4785-B854-A0A4640F32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33890" y="943199"/>
            <a:ext cx="5250019" cy="324000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6C49D584-0BDF-430E-A2EF-7867BBCD78D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30716" y="2332800"/>
            <a:ext cx="5253193" cy="3832504"/>
          </a:xfrm>
        </p:spPr>
        <p:txBody>
          <a:bodyPr/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0D04A0D-9AF9-4767-ABC4-D5DCCA6500E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80" y="1969201"/>
            <a:ext cx="5271186" cy="936997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AU" sz="1400" b="0" baseline="0" smtClean="0">
                <a:effectLst/>
                <a:latin typeface="+mj-lt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F16D48E7-3052-418D-B528-3DDD0A415F9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30716" y="1969201"/>
            <a:ext cx="5250017" cy="288925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DEED8428-02E9-4B07-9F81-A4954A35ABA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30716" y="457200"/>
            <a:ext cx="5253193" cy="468000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2500">
                <a:latin typeface="+mj-lt"/>
              </a:defRPr>
            </a:lvl1pPr>
          </a:lstStyle>
          <a:p>
            <a:pPr lvl="0"/>
            <a:r>
              <a:rPr lang="en-US"/>
              <a:t>[Section heading goes here]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6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©            Australia Pos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Date Placeholder 2">
            <a:extLst>
              <a:ext uri="{FF2B5EF4-FFF2-40B4-BE49-F238E27FC236}">
                <a16:creationId xmlns:a16="http://schemas.microsoft.com/office/drawing/2014/main" id="{5F678810-5B55-0F0D-D85C-53B10B20279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824455-455A-4854-9F82-34DE6C0D697F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14843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4512412" y="0"/>
            <a:ext cx="7681176" cy="685800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3755730E-7CB4-40B1-8E34-72307BDEE6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9" y="457200"/>
            <a:ext cx="3398611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[Section heading]</a:t>
            </a:r>
            <a:endParaRPr lang="en-AU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0C3E6562-1605-4A9F-9FCE-36444591A1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79" y="1202399"/>
            <a:ext cx="3398611" cy="288000"/>
          </a:xfrm>
        </p:spPr>
        <p:txBody>
          <a:bodyPr/>
          <a:lstStyle>
            <a:lvl1pPr>
              <a:defRPr sz="14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[Sub headline]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9ECE21-CCC5-4AEF-907D-6098CAD3D90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6504" y="1515600"/>
            <a:ext cx="3401786" cy="4649704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AU"/>
              <a:t>©            Australia Pos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Date Placeholder 2">
            <a:extLst>
              <a:ext uri="{FF2B5EF4-FFF2-40B4-BE49-F238E27FC236}">
                <a16:creationId xmlns:a16="http://schemas.microsoft.com/office/drawing/2014/main" id="{A749CF14-87E4-BF40-39DD-31544FD02EA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rgbClr val="FFFFFF"/>
                </a:solidFill>
              </a:defRPr>
            </a:lvl1pPr>
          </a:lstStyle>
          <a:p>
            <a:fld id="{B4BDFAF7-0EF5-4A59-93C8-F000F2EC36D2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910624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680" y="0"/>
            <a:ext cx="10974229" cy="5373216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8B9B6B4-5529-4B8E-BDA8-0D5B8F4BEDA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680" y="5522426"/>
            <a:ext cx="5125723" cy="360709"/>
          </a:xfrm>
        </p:spPr>
        <p:txBody>
          <a:bodyPr/>
          <a:lstStyle>
            <a:lvl1pPr>
              <a:defRPr sz="1000" b="0"/>
            </a:lvl1pPr>
          </a:lstStyle>
          <a:p>
            <a:pPr lvl="0"/>
            <a:r>
              <a:rPr lang="en-US"/>
              <a:t>Insert here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©            Australia Pos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683FB51F-E2A7-E474-B67D-F0A9D627D3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C7D83C09-84CC-457A-A2E7-FD40D69B704F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088772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609679" y="482848"/>
            <a:ext cx="11032450" cy="2827887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10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6013" y="3604666"/>
            <a:ext cx="6551016" cy="1025877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lang="en-GB" sz="4000" b="0" kern="1200" dirty="0">
                <a:solidFill>
                  <a:schemeClr val="tx1"/>
                </a:solidFill>
                <a:latin typeface="+mj-lt"/>
                <a:ea typeface="AP Type Pro Text" panose="020B0503030202060203" pitchFamily="34" charset="0"/>
                <a:cs typeface="+mj-cs"/>
              </a:defRPr>
            </a:lvl1pPr>
          </a:lstStyle>
          <a:p>
            <a:r>
              <a:rPr lang="en-US"/>
              <a:t>[Presentation title</a:t>
            </a:r>
            <a:br>
              <a:rPr lang="en-US"/>
            </a:br>
            <a:r>
              <a:rPr lang="en-US"/>
              <a:t>over two lines]</a:t>
            </a:r>
            <a:endParaRPr lang="en-GB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E1E7CB4E-69F9-4191-AD37-33C53D9332E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720335" y="4082400"/>
            <a:ext cx="2923581" cy="290122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/>
              <a:t>[Author]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41A50A49-7937-40F7-A98D-4CCFD75385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20335" y="4395601"/>
            <a:ext cx="2923581" cy="26545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b="0"/>
              <a:t>[Business Unit Team]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8ABCA38B-349A-42BC-A194-79FCC68D909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20336" y="3603601"/>
            <a:ext cx="2923581" cy="206101"/>
          </a:xfrm>
        </p:spPr>
        <p:txBody>
          <a:bodyPr/>
          <a:lstStyle>
            <a:lvl1pPr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[Date]</a:t>
            </a:r>
            <a:endParaRPr lang="en-AU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D2D39BB7-D99B-42E5-BF6B-DB63D2E6E6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5527" y="4637293"/>
            <a:ext cx="6551012" cy="409066"/>
          </a:xfrm>
        </p:spPr>
        <p:txBody>
          <a:bodyPr/>
          <a:lstStyle>
            <a:lvl1pPr>
              <a:defRPr sz="25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/>
              <a:t>[Presentation subtitle]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-1"/>
          <a:stretch/>
        </p:blipFill>
        <p:spPr>
          <a:xfrm>
            <a:off x="626481" y="6138000"/>
            <a:ext cx="1724625" cy="367200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0" y="0"/>
            <a:ext cx="33124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AU" sz="1400"/>
          </a:p>
        </p:txBody>
      </p:sp>
    </p:spTree>
    <p:extLst>
      <p:ext uri="{BB962C8B-B14F-4D97-AF65-F5344CB8AC3E}">
        <p14:creationId xmlns:p14="http://schemas.microsoft.com/office/powerpoint/2010/main" val="152631607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588" cy="685800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2D4C7D0-00BA-4791-8159-63610ECD9A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62263" y="457201"/>
            <a:ext cx="3420445" cy="1092008"/>
          </a:xfrm>
        </p:spPr>
        <p:txBody>
          <a:bodyPr/>
          <a:lstStyle>
            <a:lvl1pPr marL="108000" indent="-108000">
              <a:defRPr sz="160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“Large quote goes here. Large quote goes here. Large quote goes here. Large quote goes here.”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AU"/>
              <a:t>©            Australia Pos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AC56D41-BCCC-4123-BFAD-03276F9CD002}"/>
              </a:ext>
            </a:extLst>
          </p:cNvPr>
          <p:cNvCxnSpPr>
            <a:cxnSpLocks/>
          </p:cNvCxnSpPr>
          <p:nvPr userDrawn="1"/>
        </p:nvCxnSpPr>
        <p:spPr>
          <a:xfrm>
            <a:off x="8003842" y="457201"/>
            <a:ext cx="0" cy="972000"/>
          </a:xfrm>
          <a:prstGeom prst="line">
            <a:avLst/>
          </a:prstGeom>
          <a:ln w="12700" cap="sq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74AC36FD-8FC7-1FDA-B63E-F2A0E45295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rgbClr val="FFFFFF"/>
                </a:solidFill>
              </a:defRPr>
            </a:lvl1pPr>
          </a:lstStyle>
          <a:p>
            <a:fld id="{067E253B-4333-47D6-A65D-0305A1E426CA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711888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4512412" y="0"/>
            <a:ext cx="7681176" cy="685800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A3F56F4-BDF5-4455-A933-AE880AE2256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7515" y="601200"/>
            <a:ext cx="3240764" cy="1092008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Large quote goes here. Don’t forget to close quotation.”</a:t>
            </a:r>
            <a:endParaRPr lang="en-AU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FEA6E03-64B6-4F0E-9E09-B251660B6EF9}"/>
              </a:ext>
            </a:extLst>
          </p:cNvPr>
          <p:cNvSpPr/>
          <p:nvPr userDrawn="1"/>
        </p:nvSpPr>
        <p:spPr>
          <a:xfrm>
            <a:off x="636851" y="208800"/>
            <a:ext cx="206710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600">
                <a:solidFill>
                  <a:schemeClr val="accent2"/>
                </a:solidFill>
                <a:latin typeface="+mj-lt"/>
              </a:rPr>
              <a:t>“</a:t>
            </a:r>
            <a:r>
              <a:rPr lang="en-US" sz="4400">
                <a:solidFill>
                  <a:schemeClr val="accent2"/>
                </a:solidFill>
                <a:latin typeface="+mj-lt"/>
              </a:rPr>
              <a:t> </a:t>
            </a:r>
            <a:endParaRPr lang="en-AU" sz="4400">
              <a:solidFill>
                <a:schemeClr val="accent2"/>
              </a:solidFill>
              <a:latin typeface="+mj-lt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61F61A6-5A3A-4EE8-9BF0-2A8DE0CCEEF9}"/>
              </a:ext>
            </a:extLst>
          </p:cNvPr>
          <p:cNvCxnSpPr>
            <a:cxnSpLocks/>
          </p:cNvCxnSpPr>
          <p:nvPr userDrawn="1"/>
        </p:nvCxnSpPr>
        <p:spPr>
          <a:xfrm>
            <a:off x="538925" y="601200"/>
            <a:ext cx="0" cy="947992"/>
          </a:xfrm>
          <a:prstGeom prst="line">
            <a:avLst/>
          </a:prstGeom>
          <a:ln w="127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68454E-ABA9-40DA-B15F-7632BE016E7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926" y="1839600"/>
            <a:ext cx="3470727" cy="4325704"/>
          </a:xfrm>
        </p:spPr>
        <p:txBody>
          <a:bodyPr/>
          <a:lstStyle>
            <a:lvl1pPr>
              <a:defRPr sz="1750" b="0">
                <a:solidFill>
                  <a:schemeClr val="accent2"/>
                </a:solidFill>
                <a:latin typeface="+mj-lt"/>
              </a:defRPr>
            </a:lvl1pPr>
            <a:lvl2pPr marL="0" indent="0">
              <a:buNone/>
              <a:defRPr sz="1400" baseline="0">
                <a:latin typeface="+mn-lt"/>
              </a:defRPr>
            </a:lvl2pPr>
            <a:lvl3pPr marL="180000" indent="-180000">
              <a:buFont typeface="Arial" panose="020B0604020202020204" pitchFamily="34" charset="0"/>
              <a:buChar char="•"/>
              <a:defRPr sz="3850">
                <a:latin typeface="+mn-lt"/>
              </a:defRPr>
            </a:lvl3pPr>
            <a:lvl4pPr marL="360000" indent="-180000">
              <a:buFont typeface="Arial" panose="020B0604020202020204" pitchFamily="34" charset="0"/>
              <a:buChar char="–"/>
              <a:defRPr sz="150" baseline="0">
                <a:latin typeface="+mn-lt"/>
              </a:defRPr>
            </a:lvl4pPr>
            <a:lvl5pPr marL="540000" indent="-180000">
              <a:buFont typeface="Arial" panose="020B0604020202020204" pitchFamily="34" charset="0"/>
              <a:buChar char="◦"/>
              <a:defRPr sz="1050" baseline="0">
                <a:latin typeface="+mn-lt"/>
              </a:defRPr>
            </a:lvl5pPr>
            <a:lvl6pPr marL="0" indent="0">
              <a:buNone/>
              <a:defRPr sz="2850" baseline="0">
                <a:latin typeface="+mn-lt"/>
              </a:defRPr>
            </a:lvl6pPr>
            <a:lvl7pPr marL="180000" indent="0">
              <a:buNone/>
              <a:defRPr sz="1950">
                <a:latin typeface="+mn-lt"/>
              </a:defRPr>
            </a:lvl7pPr>
            <a:lvl8pPr>
              <a:defRPr sz="2300">
                <a:latin typeface="+mn-lt"/>
              </a:defRPr>
            </a:lvl8pPr>
            <a:lvl9pPr>
              <a:defRPr sz="1050" b="1">
                <a:latin typeface="+mn-lt"/>
              </a:defRPr>
            </a:lvl9pPr>
          </a:lstStyle>
          <a:p>
            <a:r>
              <a:rPr lang="en-GB" sz="1050"/>
              <a:t>[Subheading here]</a:t>
            </a:r>
          </a:p>
          <a:p>
            <a:pPr lvl="1"/>
            <a:r>
              <a:rPr lang="en-GB" sz="1050"/>
              <a:t>Second level</a:t>
            </a:r>
          </a:p>
          <a:p>
            <a:pPr lvl="2"/>
            <a:r>
              <a:rPr lang="en-GB" sz="1050"/>
              <a:t>Third level</a:t>
            </a:r>
          </a:p>
          <a:p>
            <a:pPr lvl="3"/>
            <a:r>
              <a:rPr lang="en-GB" sz="1050"/>
              <a:t>Fourth level</a:t>
            </a:r>
          </a:p>
          <a:p>
            <a:pPr lvl="4"/>
            <a:r>
              <a:rPr lang="en-GB" sz="1050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AU"/>
              <a:t>©            Australia Pos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Date Placeholder 2">
            <a:extLst>
              <a:ext uri="{FF2B5EF4-FFF2-40B4-BE49-F238E27FC236}">
                <a16:creationId xmlns:a16="http://schemas.microsoft.com/office/drawing/2014/main" id="{9BF9E7E7-2D21-3B5A-EB58-97ACED928CD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rgbClr val="FFFFFF"/>
                </a:solidFill>
              </a:defRPr>
            </a:lvl1pPr>
          </a:lstStyle>
          <a:p>
            <a:fld id="{2219EB7C-533C-4A0A-87F9-117AD70115D6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390641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or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9ECE21-CCC5-4AEF-907D-6098CAD3D90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6504" y="1515600"/>
            <a:ext cx="3401786" cy="4649704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B2368B6A-1C46-4793-8920-ECE007B0A7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80" y="457200"/>
            <a:ext cx="10974229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4A1E70CC-49B4-4353-B78B-C12884A6CB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80" y="943200"/>
            <a:ext cx="10974229" cy="324000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©            Australia Pos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3C66BA29-2488-967A-8CDE-515B1A91AEC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356D5523-7DEE-47FE-804C-4E5696C4F242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4484358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knowledg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9ECE21-CCC5-4AEF-907D-6098CAD3D90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11622" y="2628000"/>
            <a:ext cx="5119867" cy="2858400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B2368B6A-1C46-4793-8920-ECE007B0A7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80" y="457200"/>
            <a:ext cx="10974229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©            Australia Pos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33124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AU" sz="1400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5AE1780C-67DC-3929-4AE6-FD7F7E9493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B6F6CFFF-E875-43AB-B540-6E6313205E1C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303163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lus 2 Columns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9ECE21-CCC5-4AEF-907D-6098CAD3D90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6504" y="1515600"/>
            <a:ext cx="3401786" cy="4649704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B2368B6A-1C46-4793-8920-ECE007B0A7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80" y="457200"/>
            <a:ext cx="10974229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4A1E70CC-49B4-4353-B78B-C12884A6CB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80" y="943200"/>
            <a:ext cx="10974229" cy="324000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©            Australia Pos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sz="half" idx="1"/>
          </p:nvPr>
        </p:nvSpPr>
        <p:spPr>
          <a:xfrm>
            <a:off x="4368377" y="1515600"/>
            <a:ext cx="7215532" cy="2145600"/>
          </a:xfrm>
          <a:prstGeom prst="rect">
            <a:avLst/>
          </a:prstGeom>
          <a:ln>
            <a:noFill/>
          </a:ln>
        </p:spPr>
        <p:txBody>
          <a:bodyPr lIns="90000" rIns="90000"/>
          <a:lstStyle>
            <a:lvl1pPr>
              <a:defRPr sz="2500"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>
                <a:solidFill>
                  <a:schemeClr val="accent2"/>
                </a:solidFill>
                <a:latin typeface="+mj-lt"/>
              </a:defRPr>
            </a:lvl2pPr>
            <a:lvl3pPr marL="0" indent="0">
              <a:buFont typeface="Wingdings" panose="05000000000000000000" pitchFamily="2" charset="2"/>
              <a:buNone/>
              <a:defRPr/>
            </a:lvl3pPr>
            <a:lvl4pPr marL="180000" indent="-180000">
              <a:buFont typeface="Wingdings" panose="05000000000000000000" pitchFamily="2" charset="2"/>
              <a:buChar char=""/>
              <a:defRPr/>
            </a:lvl4pPr>
            <a:lvl5pPr marL="360000" indent="-180000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2"/>
          <p:cNvSpPr>
            <a:spLocks noGrp="1"/>
          </p:cNvSpPr>
          <p:nvPr>
            <p:ph sz="half" idx="21"/>
          </p:nvPr>
        </p:nvSpPr>
        <p:spPr>
          <a:xfrm>
            <a:off x="4367369" y="4006800"/>
            <a:ext cx="7215532" cy="2145600"/>
          </a:xfrm>
          <a:prstGeom prst="rect">
            <a:avLst/>
          </a:prstGeom>
          <a:ln>
            <a:noFill/>
          </a:ln>
        </p:spPr>
        <p:txBody>
          <a:bodyPr lIns="90000" rIns="90000"/>
          <a:lstStyle>
            <a:lvl1pPr>
              <a:defRPr sz="2500"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>
                <a:solidFill>
                  <a:schemeClr val="accent2"/>
                </a:solidFill>
                <a:latin typeface="+mj-lt"/>
              </a:defRPr>
            </a:lvl2pPr>
            <a:lvl3pPr marL="0" indent="0">
              <a:buFont typeface="Wingdings" panose="05000000000000000000" pitchFamily="2" charset="2"/>
              <a:buNone/>
              <a:defRPr/>
            </a:lvl3pPr>
            <a:lvl4pPr marL="180000" indent="-180000">
              <a:buFont typeface="Wingdings" panose="05000000000000000000" pitchFamily="2" charset="2"/>
              <a:buChar char=""/>
              <a:defRPr/>
            </a:lvl4pPr>
            <a:lvl5pPr marL="360000" indent="-180000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Date Placeholder 2">
            <a:extLst>
              <a:ext uri="{FF2B5EF4-FFF2-40B4-BE49-F238E27FC236}">
                <a16:creationId xmlns:a16="http://schemas.microsoft.com/office/drawing/2014/main" id="{1D81E58F-A5AB-7366-80F3-34712BFF9C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FEA8321-C4E5-49C1-80B2-0BC2B1F8C2A7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332428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9ED9C03-4C73-4144-9A0D-023D40CDD32F}"/>
              </a:ext>
            </a:extLst>
          </p:cNvPr>
          <p:cNvSpPr/>
          <p:nvPr userDrawn="1"/>
        </p:nvSpPr>
        <p:spPr>
          <a:xfrm>
            <a:off x="4512412" y="-8402"/>
            <a:ext cx="7681176" cy="68664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AU" sz="1400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3755730E-7CB4-40B1-8E34-72307BDEE6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9" y="457200"/>
            <a:ext cx="3398611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[Section heading]</a:t>
            </a:r>
            <a:endParaRPr lang="en-AU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0C3E6562-1605-4A9F-9FCE-36444591A1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79" y="1202400"/>
            <a:ext cx="3398611" cy="288000"/>
          </a:xfrm>
        </p:spPr>
        <p:txBody>
          <a:bodyPr/>
          <a:lstStyle>
            <a:lvl1pPr>
              <a:defRPr sz="14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[Sub headline]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9ECE21-CCC5-4AEF-907D-6098CAD3D90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6504" y="1515600"/>
            <a:ext cx="3401786" cy="46497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1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©            Australia Po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F1B52978-6698-7751-B6C3-D4691F47F9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2390836-354D-4A77-B172-EDAC64757BD4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7608792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GRAPH Whit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>
            <a:extLst>
              <a:ext uri="{FF2B5EF4-FFF2-40B4-BE49-F238E27FC236}">
                <a16:creationId xmlns:a16="http://schemas.microsoft.com/office/drawing/2014/main" id="{3755730E-7CB4-40B1-8E34-72307BDEE6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9" y="457200"/>
            <a:ext cx="3398611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[Section heading]</a:t>
            </a:r>
            <a:endParaRPr lang="en-AU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0C3E6562-1605-4A9F-9FCE-36444591A1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79" y="1202400"/>
            <a:ext cx="3398611" cy="288000"/>
          </a:xfrm>
        </p:spPr>
        <p:txBody>
          <a:bodyPr/>
          <a:lstStyle>
            <a:lvl1pPr>
              <a:defRPr sz="14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[Sub headline]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9ECE21-CCC5-4AEF-907D-6098CAD3D90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6504" y="1515600"/>
            <a:ext cx="3401786" cy="46497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1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©            Australia Po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0812D1E8-F7FA-0324-7033-D3E54BB25CC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CDA53C11-1863-497E-B1D9-FA4EE42E6148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91681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>
            <a:extLst>
              <a:ext uri="{FF2B5EF4-FFF2-40B4-BE49-F238E27FC236}">
                <a16:creationId xmlns:a16="http://schemas.microsoft.com/office/drawing/2014/main" id="{8491AA20-E28F-4358-90D1-16950CC637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7" y="457200"/>
            <a:ext cx="10974229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6E6F5038-21F2-4E2D-B8A2-3B6621743C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77" y="943199"/>
            <a:ext cx="10974229" cy="324000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111CDAD4-7E5E-4E71-A81B-0AFC199276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77" y="2800800"/>
            <a:ext cx="10974229" cy="343651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0D04A0D-9AF9-4767-ABC4-D5DCCA6500E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80" y="1717201"/>
            <a:ext cx="10974229" cy="936997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AU" sz="1400" b="0" baseline="0" smtClean="0">
                <a:effectLst/>
                <a:latin typeface="+mj-lt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©            Australia Pos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29A53C27-08B2-837C-6185-9257C671F9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38BC1C8C-AFC2-45AE-AA9F-2F08EA2C28E1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208637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80" y="1472400"/>
            <a:ext cx="10974229" cy="4692904"/>
          </a:xfrm>
          <a:prstGeom prst="rect">
            <a:avLst/>
          </a:prstGeom>
        </p:spPr>
        <p:txBody>
          <a:bodyPr/>
          <a:lstStyle>
            <a:lvl1pPr marL="547688" indent="-547688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accent2"/>
              </a:buClr>
              <a:buFont typeface="+mj-lt"/>
              <a:buAutoNum type="arabicPeriod"/>
              <a:tabLst>
                <a:tab pos="8170863" algn="r"/>
              </a:tabLst>
              <a:defRPr sz="2000" b="0">
                <a:solidFill>
                  <a:schemeClr val="tx1"/>
                </a:solidFill>
                <a:latin typeface="+mn-lt"/>
              </a:defRPr>
            </a:lvl1pPr>
            <a:lvl2pPr marL="547688" indent="0">
              <a:buClr>
                <a:schemeClr val="accent4"/>
              </a:buClr>
              <a:buFont typeface="+mj-lt"/>
              <a:buNone/>
              <a:tabLst>
                <a:tab pos="8170863" algn="r"/>
              </a:tabLst>
              <a:defRPr sz="1400">
                <a:latin typeface="+mn-lt"/>
              </a:defRPr>
            </a:lvl2pPr>
            <a:lvl3pPr marL="730250" indent="-182563">
              <a:lnSpc>
                <a:spcPct val="100000"/>
              </a:lnSpc>
              <a:tabLst>
                <a:tab pos="8170863" algn="r"/>
              </a:tabLst>
              <a:defRPr sz="1400">
                <a:latin typeface="+mn-lt"/>
              </a:defRPr>
            </a:lvl3pPr>
            <a:lvl4pPr marL="914400" indent="-182563">
              <a:lnSpc>
                <a:spcPct val="100000"/>
              </a:lnSpc>
              <a:tabLst>
                <a:tab pos="8170863" algn="r"/>
              </a:tabLst>
              <a:defRPr sz="1400">
                <a:latin typeface="+mn-lt"/>
              </a:defRPr>
            </a:lvl4pPr>
            <a:lvl5pPr marL="1096963" indent="-182563">
              <a:lnSpc>
                <a:spcPct val="100000"/>
              </a:lnSpc>
              <a:tabLst>
                <a:tab pos="8170863" algn="r"/>
              </a:tabLst>
              <a:defRPr sz="1400">
                <a:latin typeface="+mn-lt"/>
              </a:defRPr>
            </a:lvl5pPr>
            <a:lvl6pPr marL="1279525" indent="-182563">
              <a:lnSpc>
                <a:spcPct val="100000"/>
              </a:lnSpc>
              <a:tabLst>
                <a:tab pos="8170863" algn="r"/>
              </a:tabLst>
              <a:defRPr sz="1400">
                <a:latin typeface="+mn-lt"/>
              </a:defRPr>
            </a:lvl6pPr>
            <a:lvl7pPr marL="1462088" indent="-182563">
              <a:lnSpc>
                <a:spcPct val="100000"/>
              </a:lnSpc>
              <a:tabLst>
                <a:tab pos="8170863" algn="r"/>
              </a:tabLst>
              <a:defRPr sz="1400">
                <a:latin typeface="+mn-lt"/>
              </a:defRPr>
            </a:lvl7pPr>
            <a:lvl8pPr marL="1644650" indent="-182563">
              <a:lnSpc>
                <a:spcPct val="100000"/>
              </a:lnSpc>
              <a:tabLst>
                <a:tab pos="8170863" algn="r"/>
              </a:tabLst>
              <a:defRPr sz="1400">
                <a:latin typeface="+mn-lt"/>
              </a:defRPr>
            </a:lvl8pPr>
            <a:lvl9pPr marL="1828800" indent="-182563">
              <a:lnSpc>
                <a:spcPct val="100000"/>
              </a:lnSpc>
              <a:tabLst>
                <a:tab pos="8170863" algn="r"/>
              </a:tabLst>
              <a:defRPr sz="1400" b="0">
                <a:solidFill>
                  <a:schemeClr val="accent2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44A7DC40-D403-4A0F-AF49-1F74F2942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9" y="457200"/>
            <a:ext cx="5487114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46EA250-4639-42CB-A59A-79C232B306C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79" y="943199"/>
            <a:ext cx="5487114" cy="324000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©            Australia Po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DC54142F-A531-A26C-0967-46BC34DEA23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D98A2A8-6B6C-4FB2-8BA1-CD049AA520A0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8507826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80" y="1472400"/>
            <a:ext cx="10974229" cy="4692904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 b="0">
                <a:solidFill>
                  <a:schemeClr val="accent2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0C812181-3A43-44E3-9150-CEBC46E2E4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9" y="457200"/>
            <a:ext cx="5487114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3BFC3DD1-C3AE-4162-8B70-8F906900B8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79" y="943199"/>
            <a:ext cx="5487114" cy="324000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©            Australia Po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F03C9DD5-FD02-544F-C19B-702FD1D697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ED1144C-F427-41EF-BB40-3A2152B38DB9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6990297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 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609679" y="482848"/>
            <a:ext cx="11032450" cy="2827887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10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6013" y="3604666"/>
            <a:ext cx="6551016" cy="1025877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lang="en-GB" sz="4000" b="0" kern="1200" dirty="0">
                <a:solidFill>
                  <a:schemeClr val="tx1"/>
                </a:solidFill>
                <a:latin typeface="+mj-lt"/>
                <a:ea typeface="AP Type Pro Text" panose="020B0503030202060203" pitchFamily="34" charset="0"/>
                <a:cs typeface="+mj-cs"/>
              </a:defRPr>
            </a:lvl1pPr>
          </a:lstStyle>
          <a:p>
            <a:r>
              <a:rPr lang="en-US"/>
              <a:t>[Presentation title</a:t>
            </a:r>
            <a:br>
              <a:rPr lang="en-US"/>
            </a:br>
            <a:r>
              <a:rPr lang="en-US"/>
              <a:t>over two lines]</a:t>
            </a:r>
            <a:endParaRPr lang="en-GB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E1E7CB4E-69F9-4191-AD37-33C53D9332E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720335" y="4082400"/>
            <a:ext cx="2923581" cy="290122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/>
              <a:t>[Author]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41A50A49-7937-40F7-A98D-4CCFD75385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20335" y="4395601"/>
            <a:ext cx="2923581" cy="26545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b="0"/>
              <a:t>[Business Unit Team]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8ABCA38B-349A-42BC-A194-79FCC68D909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20336" y="3603601"/>
            <a:ext cx="2923581" cy="206101"/>
          </a:xfrm>
        </p:spPr>
        <p:txBody>
          <a:bodyPr/>
          <a:lstStyle>
            <a:lvl1pPr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[Date]</a:t>
            </a:r>
            <a:endParaRPr lang="en-AU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D2D39BB7-D99B-42E5-BF6B-DB63D2E6E6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5527" y="4637293"/>
            <a:ext cx="6551012" cy="409066"/>
          </a:xfrm>
        </p:spPr>
        <p:txBody>
          <a:bodyPr/>
          <a:lstStyle>
            <a:lvl1pPr>
              <a:defRPr sz="25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/>
              <a:t>[Presentation subtitle]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0" y="0"/>
            <a:ext cx="33124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AU" sz="140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482" y="6138000"/>
            <a:ext cx="1697925" cy="3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645496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79" y="1472400"/>
            <a:ext cx="3414629" cy="4692904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 b="0">
                <a:solidFill>
                  <a:schemeClr val="accent2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  <a:endParaRPr lang="en-GB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156C5811-F307-49BD-BFF9-4EECB7E095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9" y="457200"/>
            <a:ext cx="5487114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4115E4A5-F051-43E2-855F-F0902B89E53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79" y="943199"/>
            <a:ext cx="5487114" cy="324000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©            Australia Po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ED99D503-4B91-A782-4137-ADB6AE48891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2CBC6B00-ED49-4117-AD3C-5E6C48288983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2685396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9679" y="1472400"/>
            <a:ext cx="3414629" cy="4692904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 b="0">
                <a:solidFill>
                  <a:schemeClr val="accent2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90540" y="1472400"/>
            <a:ext cx="3412511" cy="4692904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 b="0">
                <a:solidFill>
                  <a:schemeClr val="accent2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  <a:endParaRPr lang="en-GB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8169282" y="1472400"/>
            <a:ext cx="3414628" cy="4692904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 b="0">
                <a:solidFill>
                  <a:schemeClr val="accent2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BDDBB3F4-5A6A-4C8C-B6DB-A09D5EC5A5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9" y="457200"/>
            <a:ext cx="5487114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1842489-AE09-4D15-8EE1-0EB6C2B5C0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79" y="943199"/>
            <a:ext cx="5487114" cy="324000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©            Australia Pos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05EEE2C7-5224-174E-9CBD-C58A9EACC362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BCB2B11-B49B-4D1B-BF49-4C92F51594C7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2793680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9679" y="1472400"/>
            <a:ext cx="2463105" cy="469290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446721" y="1472400"/>
            <a:ext cx="2463105" cy="469290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6283762" y="1472400"/>
            <a:ext cx="2463105" cy="469290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9120804" y="1472400"/>
            <a:ext cx="2463105" cy="469290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D732E3B0-B51D-4ADA-8D73-821FEDBB1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9" y="457200"/>
            <a:ext cx="5487114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5BA71635-73AA-4E06-8A05-F774811244B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79" y="943199"/>
            <a:ext cx="5487114" cy="324000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©            Australia Pos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Date Placeholder 2">
            <a:extLst>
              <a:ext uri="{FF2B5EF4-FFF2-40B4-BE49-F238E27FC236}">
                <a16:creationId xmlns:a16="http://schemas.microsoft.com/office/drawing/2014/main" id="{C0B2222F-70FA-7F12-C226-D5435C3FA8FD}"/>
              </a:ext>
            </a:extLst>
          </p:cNvPr>
          <p:cNvSpPr>
            <a:spLocks noGrp="1"/>
          </p:cNvSpPr>
          <p:nvPr>
            <p:ph type="dt" sz="half" idx="21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CD9B3506-DA3F-4B43-98A8-9C736E46BD69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321336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79" y="1620000"/>
            <a:ext cx="2463105" cy="4485600"/>
          </a:xfrm>
          <a:prstGeom prst="rect">
            <a:avLst/>
          </a:prstGeom>
          <a:ln>
            <a:noFill/>
          </a:ln>
        </p:spPr>
        <p:txBody>
          <a:bodyPr lIns="90000" rIns="90000"/>
          <a:lstStyle>
            <a:lvl1pPr>
              <a:defRPr sz="2500"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>
                <a:solidFill>
                  <a:schemeClr val="accent2"/>
                </a:solidFill>
                <a:latin typeface="+mj-lt"/>
              </a:defRPr>
            </a:lvl2pPr>
            <a:lvl3pPr marL="0" indent="0">
              <a:buFont typeface="Wingdings" panose="05000000000000000000" pitchFamily="2" charset="2"/>
              <a:buNone/>
              <a:defRPr/>
            </a:lvl3pPr>
            <a:lvl4pPr marL="180000" indent="-180000">
              <a:buFont typeface="Wingdings" panose="05000000000000000000" pitchFamily="2" charset="2"/>
              <a:buChar char=""/>
              <a:defRPr/>
            </a:lvl4pPr>
            <a:lvl5pPr marL="360000" indent="-180000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46721" y="1620000"/>
            <a:ext cx="2463105" cy="4485600"/>
          </a:xfrm>
          <a:prstGeom prst="rect">
            <a:avLst/>
          </a:prstGeom>
        </p:spPr>
        <p:txBody>
          <a:bodyPr lIns="90000" rIns="90000"/>
          <a:lstStyle>
            <a:lvl1pPr>
              <a:defRPr sz="2500"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>
                <a:solidFill>
                  <a:schemeClr val="accent2"/>
                </a:solidFill>
                <a:latin typeface="+mj-lt"/>
              </a:defRPr>
            </a:lvl2pPr>
            <a:lvl3pPr marL="0" indent="0">
              <a:buNone/>
              <a:defRPr/>
            </a:lvl3pPr>
            <a:lvl4pPr marL="180000" indent="-180000">
              <a:buFont typeface="Wingdings" panose="05000000000000000000" pitchFamily="2" charset="2"/>
              <a:buChar char=""/>
              <a:defRPr/>
            </a:lvl4pPr>
            <a:lvl5pPr marL="360000" indent="-180000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6283762" y="1620000"/>
            <a:ext cx="2463105" cy="4485600"/>
          </a:xfrm>
          <a:prstGeom prst="rect">
            <a:avLst/>
          </a:prstGeom>
        </p:spPr>
        <p:txBody>
          <a:bodyPr lIns="90000" rIns="90000"/>
          <a:lstStyle>
            <a:lvl1pPr>
              <a:defRPr sz="2500"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>
                <a:solidFill>
                  <a:schemeClr val="accent2"/>
                </a:solidFill>
                <a:latin typeface="+mj-lt"/>
              </a:defRPr>
            </a:lvl2pPr>
            <a:lvl3pPr marL="0" indent="0">
              <a:buNone/>
              <a:defRPr/>
            </a:lvl3pPr>
            <a:lvl4pPr marL="180000" indent="-180000">
              <a:buFont typeface="Wingdings" panose="05000000000000000000" pitchFamily="2" charset="2"/>
              <a:buChar char=""/>
              <a:defRPr/>
            </a:lvl4pPr>
            <a:lvl5pPr marL="360000" indent="-180000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9120804" y="1620000"/>
            <a:ext cx="2463105" cy="4485600"/>
          </a:xfrm>
          <a:prstGeom prst="rect">
            <a:avLst/>
          </a:prstGeom>
        </p:spPr>
        <p:txBody>
          <a:bodyPr lIns="90000" rIns="90000"/>
          <a:lstStyle>
            <a:lvl1pPr>
              <a:defRPr sz="2500"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>
                <a:solidFill>
                  <a:schemeClr val="accent2"/>
                </a:solidFill>
                <a:latin typeface="+mj-lt"/>
              </a:defRPr>
            </a:lvl2pPr>
            <a:lvl3pPr marL="0" indent="0">
              <a:buNone/>
              <a:defRPr/>
            </a:lvl3pPr>
            <a:lvl4pPr marL="180000" indent="-180000">
              <a:buFont typeface="Wingdings" panose="05000000000000000000" pitchFamily="2" charset="2"/>
              <a:buChar char=""/>
              <a:defRPr/>
            </a:lvl4pPr>
            <a:lvl5pPr marL="360000" indent="-180000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D732E3B0-B51D-4ADA-8D73-821FEDBB1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9" y="457200"/>
            <a:ext cx="5487114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5BA71635-73AA-4E06-8A05-F774811244B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79" y="943199"/>
            <a:ext cx="5487114" cy="324000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©            Australia Pos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3445649" y="5014800"/>
            <a:ext cx="2462721" cy="1294520"/>
          </a:xfrm>
        </p:spPr>
        <p:txBody>
          <a:bodyPr lIns="90000"/>
          <a:lstStyle>
            <a:lvl1pPr>
              <a:defRPr sz="7000">
                <a:latin typeface="+mj-lt"/>
              </a:defRPr>
            </a:lvl1pPr>
          </a:lstStyle>
          <a:p>
            <a:pPr lvl="0"/>
            <a:r>
              <a:rPr lang="en-US"/>
              <a:t>10%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6282818" y="5014800"/>
            <a:ext cx="2462721" cy="1294520"/>
          </a:xfrm>
        </p:spPr>
        <p:txBody>
          <a:bodyPr lIns="90000"/>
          <a:lstStyle>
            <a:lvl1pPr>
              <a:defRPr sz="7000">
                <a:latin typeface="+mj-lt"/>
              </a:defRPr>
            </a:lvl1pPr>
          </a:lstStyle>
          <a:p>
            <a:pPr lvl="0"/>
            <a:r>
              <a:rPr lang="en-US"/>
              <a:t>10%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3" hasCustomPrompt="1"/>
          </p:nvPr>
        </p:nvSpPr>
        <p:spPr>
          <a:xfrm>
            <a:off x="9119988" y="5014800"/>
            <a:ext cx="2462721" cy="1294520"/>
          </a:xfrm>
        </p:spPr>
        <p:txBody>
          <a:bodyPr lIns="90000"/>
          <a:lstStyle>
            <a:lvl1pPr>
              <a:defRPr sz="7000">
                <a:latin typeface="+mj-lt"/>
              </a:defRPr>
            </a:lvl1pPr>
          </a:lstStyle>
          <a:p>
            <a:pPr lvl="0"/>
            <a:r>
              <a:rPr lang="en-US"/>
              <a:t>10%</a:t>
            </a:r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4" hasCustomPrompt="1"/>
          </p:nvPr>
        </p:nvSpPr>
        <p:spPr>
          <a:xfrm>
            <a:off x="610063" y="5014800"/>
            <a:ext cx="2462721" cy="1294520"/>
          </a:xfrm>
        </p:spPr>
        <p:txBody>
          <a:bodyPr lIns="90000"/>
          <a:lstStyle>
            <a:lvl1pPr>
              <a:defRPr sz="7000">
                <a:latin typeface="+mj-lt"/>
              </a:defRPr>
            </a:lvl1pPr>
          </a:lstStyle>
          <a:p>
            <a:pPr lvl="0"/>
            <a:r>
              <a:rPr lang="en-US"/>
              <a:t>10%</a:t>
            </a:r>
          </a:p>
        </p:txBody>
      </p:sp>
      <p:sp>
        <p:nvSpPr>
          <p:cNvPr id="15" name="Date Placeholder 2">
            <a:extLst>
              <a:ext uri="{FF2B5EF4-FFF2-40B4-BE49-F238E27FC236}">
                <a16:creationId xmlns:a16="http://schemas.microsoft.com/office/drawing/2014/main" id="{4E180F49-CB48-8E96-D614-3500AEE65112}"/>
              </a:ext>
            </a:extLst>
          </p:cNvPr>
          <p:cNvSpPr>
            <a:spLocks noGrp="1"/>
          </p:cNvSpPr>
          <p:nvPr>
            <p:ph type="dt" sz="half" idx="25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F09FE22C-BCB6-4D27-8D84-A100F2298983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4263158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79" y="1620000"/>
            <a:ext cx="2463105" cy="4485600"/>
          </a:xfrm>
          <a:prstGeom prst="rect">
            <a:avLst/>
          </a:prstGeom>
          <a:ln>
            <a:noFill/>
          </a:ln>
        </p:spPr>
        <p:txBody>
          <a:bodyPr lIns="90000" rIns="90000"/>
          <a:lstStyle>
            <a:lvl1pPr>
              <a:defRPr sz="2500"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>
                <a:solidFill>
                  <a:schemeClr val="accent2"/>
                </a:solidFill>
                <a:latin typeface="+mj-lt"/>
              </a:defRPr>
            </a:lvl2pPr>
            <a:lvl3pPr marL="0" indent="0">
              <a:buFont typeface="Wingdings" panose="05000000000000000000" pitchFamily="2" charset="2"/>
              <a:buNone/>
              <a:defRPr/>
            </a:lvl3pPr>
            <a:lvl4pPr marL="180000" indent="-180000">
              <a:buFont typeface="Wingdings" panose="05000000000000000000" pitchFamily="2" charset="2"/>
              <a:buChar char=""/>
              <a:defRPr/>
            </a:lvl4pPr>
            <a:lvl5pPr marL="360000" indent="-180000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46721" y="1620000"/>
            <a:ext cx="2463105" cy="4485600"/>
          </a:xfrm>
          <a:prstGeom prst="rect">
            <a:avLst/>
          </a:prstGeom>
        </p:spPr>
        <p:txBody>
          <a:bodyPr lIns="90000" rIns="90000"/>
          <a:lstStyle>
            <a:lvl1pPr>
              <a:defRPr sz="2500"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>
                <a:solidFill>
                  <a:schemeClr val="accent2"/>
                </a:solidFill>
                <a:latin typeface="+mj-lt"/>
              </a:defRPr>
            </a:lvl2pPr>
            <a:lvl3pPr marL="0" indent="0">
              <a:buNone/>
              <a:defRPr/>
            </a:lvl3pPr>
            <a:lvl4pPr marL="180000" indent="-180000">
              <a:buFont typeface="Wingdings" panose="05000000000000000000" pitchFamily="2" charset="2"/>
              <a:buChar char=""/>
              <a:defRPr/>
            </a:lvl4pPr>
            <a:lvl5pPr marL="360000" indent="-180000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6283762" y="1620000"/>
            <a:ext cx="2463105" cy="4485600"/>
          </a:xfrm>
          <a:prstGeom prst="rect">
            <a:avLst/>
          </a:prstGeom>
        </p:spPr>
        <p:txBody>
          <a:bodyPr lIns="90000" rIns="90000"/>
          <a:lstStyle>
            <a:lvl1pPr>
              <a:defRPr sz="2500"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>
                <a:solidFill>
                  <a:schemeClr val="accent2"/>
                </a:solidFill>
                <a:latin typeface="+mj-lt"/>
              </a:defRPr>
            </a:lvl2pPr>
            <a:lvl3pPr marL="0" indent="0">
              <a:buNone/>
              <a:defRPr/>
            </a:lvl3pPr>
            <a:lvl4pPr marL="180000" indent="-180000">
              <a:buFont typeface="Wingdings" panose="05000000000000000000" pitchFamily="2" charset="2"/>
              <a:buChar char=""/>
              <a:defRPr/>
            </a:lvl4pPr>
            <a:lvl5pPr marL="360000" indent="-180000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9120804" y="1620000"/>
            <a:ext cx="2463105" cy="4485600"/>
          </a:xfrm>
          <a:prstGeom prst="rect">
            <a:avLst/>
          </a:prstGeom>
        </p:spPr>
        <p:txBody>
          <a:bodyPr lIns="90000" rIns="90000"/>
          <a:lstStyle>
            <a:lvl1pPr>
              <a:defRPr sz="2500"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>
                <a:solidFill>
                  <a:schemeClr val="accent2"/>
                </a:solidFill>
                <a:latin typeface="+mj-lt"/>
              </a:defRPr>
            </a:lvl2pPr>
            <a:lvl3pPr marL="0" indent="0">
              <a:buNone/>
              <a:defRPr/>
            </a:lvl3pPr>
            <a:lvl4pPr marL="180000" indent="-180000">
              <a:buFont typeface="Wingdings" panose="05000000000000000000" pitchFamily="2" charset="2"/>
              <a:buChar char=""/>
              <a:defRPr/>
            </a:lvl4pPr>
            <a:lvl5pPr marL="360000" indent="-180000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D732E3B0-B51D-4ADA-8D73-821FEDBB1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9" y="457200"/>
            <a:ext cx="5487114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5BA71635-73AA-4E06-8A05-F774811244B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79" y="943199"/>
            <a:ext cx="5487114" cy="324000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©            Australia Pos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Picture Placeholder 9"/>
          <p:cNvSpPr>
            <a:spLocks noGrp="1"/>
          </p:cNvSpPr>
          <p:nvPr>
            <p:ph type="pic" sz="quarter" idx="21"/>
          </p:nvPr>
        </p:nvSpPr>
        <p:spPr>
          <a:xfrm>
            <a:off x="752498" y="4860000"/>
            <a:ext cx="1080141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22" name="Picture Placeholder 9"/>
          <p:cNvSpPr>
            <a:spLocks noGrp="1"/>
          </p:cNvSpPr>
          <p:nvPr>
            <p:ph type="pic" sz="quarter" idx="22"/>
          </p:nvPr>
        </p:nvSpPr>
        <p:spPr>
          <a:xfrm>
            <a:off x="3589667" y="4860000"/>
            <a:ext cx="1080141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23" name="Picture Placeholder 9"/>
          <p:cNvSpPr>
            <a:spLocks noGrp="1"/>
          </p:cNvSpPr>
          <p:nvPr>
            <p:ph type="pic" sz="quarter" idx="23"/>
          </p:nvPr>
        </p:nvSpPr>
        <p:spPr>
          <a:xfrm>
            <a:off x="6426837" y="4860000"/>
            <a:ext cx="1080141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24" name="Picture Placeholder 9"/>
          <p:cNvSpPr>
            <a:spLocks noGrp="1"/>
          </p:cNvSpPr>
          <p:nvPr>
            <p:ph type="pic" sz="quarter" idx="24"/>
          </p:nvPr>
        </p:nvSpPr>
        <p:spPr>
          <a:xfrm>
            <a:off x="9264006" y="4860000"/>
            <a:ext cx="1080141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15" name="Date Placeholder 2">
            <a:extLst>
              <a:ext uri="{FF2B5EF4-FFF2-40B4-BE49-F238E27FC236}">
                <a16:creationId xmlns:a16="http://schemas.microsoft.com/office/drawing/2014/main" id="{75E0F3A8-C7A5-0792-022D-9C95EB96BDE2}"/>
              </a:ext>
            </a:extLst>
          </p:cNvPr>
          <p:cNvSpPr>
            <a:spLocks noGrp="1"/>
          </p:cNvSpPr>
          <p:nvPr>
            <p:ph type="dt" sz="half" idx="25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E0C1AC24-9374-4FDD-B6F3-CEF7EBFB8159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315492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Numbered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79" y="1620000"/>
            <a:ext cx="2463105" cy="4485600"/>
          </a:xfrm>
          <a:prstGeom prst="rect">
            <a:avLst/>
          </a:prstGeom>
          <a:ln>
            <a:noFill/>
          </a:ln>
        </p:spPr>
        <p:txBody>
          <a:bodyPr lIns="90000" rIns="90000"/>
          <a:lstStyle>
            <a:lvl1pPr>
              <a:defRPr sz="2500">
                <a:solidFill>
                  <a:schemeClr val="accent2"/>
                </a:solidFill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>
                <a:solidFill>
                  <a:schemeClr val="accent2"/>
                </a:solidFill>
                <a:latin typeface="+mj-lt"/>
              </a:defRPr>
            </a:lvl2pPr>
            <a:lvl3pPr marL="0" indent="0">
              <a:buFont typeface="Wingdings" panose="05000000000000000000" pitchFamily="2" charset="2"/>
              <a:buNone/>
              <a:defRPr/>
            </a:lvl3pPr>
            <a:lvl4pPr marL="180000" indent="-180000">
              <a:buFont typeface="Wingdings" panose="05000000000000000000" pitchFamily="2" charset="2"/>
              <a:buChar char=""/>
              <a:defRPr/>
            </a:lvl4pPr>
            <a:lvl5pPr marL="360000" indent="-180000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46721" y="1620000"/>
            <a:ext cx="2463105" cy="4485600"/>
          </a:xfrm>
          <a:prstGeom prst="rect">
            <a:avLst/>
          </a:prstGeom>
        </p:spPr>
        <p:txBody>
          <a:bodyPr lIns="90000" rIns="90000"/>
          <a:lstStyle>
            <a:lvl1pPr>
              <a:defRPr sz="2500">
                <a:solidFill>
                  <a:schemeClr val="accent2"/>
                </a:solidFill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>
                <a:solidFill>
                  <a:schemeClr val="accent2"/>
                </a:solidFill>
                <a:latin typeface="+mj-lt"/>
              </a:defRPr>
            </a:lvl2pPr>
            <a:lvl3pPr marL="0" indent="0">
              <a:buNone/>
              <a:defRPr/>
            </a:lvl3pPr>
            <a:lvl4pPr marL="180000" indent="-180000">
              <a:buFont typeface="Wingdings" panose="05000000000000000000" pitchFamily="2" charset="2"/>
              <a:buChar char=""/>
              <a:defRPr/>
            </a:lvl4pPr>
            <a:lvl5pPr marL="360000" indent="-180000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6283762" y="1620000"/>
            <a:ext cx="2463105" cy="4485600"/>
          </a:xfrm>
          <a:prstGeom prst="rect">
            <a:avLst/>
          </a:prstGeom>
        </p:spPr>
        <p:txBody>
          <a:bodyPr lIns="90000" rIns="90000"/>
          <a:lstStyle>
            <a:lvl1pPr>
              <a:defRPr sz="2500">
                <a:solidFill>
                  <a:schemeClr val="accent2"/>
                </a:solidFill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>
                <a:solidFill>
                  <a:schemeClr val="accent2"/>
                </a:solidFill>
                <a:latin typeface="+mj-lt"/>
              </a:defRPr>
            </a:lvl2pPr>
            <a:lvl3pPr marL="0" indent="0">
              <a:buNone/>
              <a:defRPr/>
            </a:lvl3pPr>
            <a:lvl4pPr marL="180000" indent="-180000">
              <a:buFont typeface="Wingdings" panose="05000000000000000000" pitchFamily="2" charset="2"/>
              <a:buChar char=""/>
              <a:defRPr/>
            </a:lvl4pPr>
            <a:lvl5pPr marL="360000" indent="-180000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9120804" y="1620000"/>
            <a:ext cx="2463105" cy="4485600"/>
          </a:xfrm>
          <a:prstGeom prst="rect">
            <a:avLst/>
          </a:prstGeom>
        </p:spPr>
        <p:txBody>
          <a:bodyPr lIns="90000" rIns="90000"/>
          <a:lstStyle>
            <a:lvl1pPr>
              <a:defRPr sz="2500">
                <a:solidFill>
                  <a:schemeClr val="accent2"/>
                </a:solidFill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>
                <a:solidFill>
                  <a:schemeClr val="accent2"/>
                </a:solidFill>
                <a:latin typeface="+mj-lt"/>
              </a:defRPr>
            </a:lvl2pPr>
            <a:lvl3pPr marL="0" indent="0">
              <a:buNone/>
              <a:defRPr/>
            </a:lvl3pPr>
            <a:lvl4pPr marL="180000" indent="-180000">
              <a:buFont typeface="Wingdings" panose="05000000000000000000" pitchFamily="2" charset="2"/>
              <a:buChar char=""/>
              <a:defRPr/>
            </a:lvl4pPr>
            <a:lvl5pPr marL="360000" indent="-180000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D732E3B0-B51D-4ADA-8D73-821FEDBB1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9" y="457200"/>
            <a:ext cx="5487114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5BA71635-73AA-4E06-8A05-F774811244B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79" y="943199"/>
            <a:ext cx="5487114" cy="324000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©            Australia Pos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08479" y="1620000"/>
            <a:ext cx="0" cy="4485600"/>
          </a:xfrm>
          <a:prstGeom prst="line">
            <a:avLst/>
          </a:prstGeom>
          <a:ln w="127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3445649" y="1620000"/>
            <a:ext cx="0" cy="4485600"/>
          </a:xfrm>
          <a:prstGeom prst="line">
            <a:avLst/>
          </a:prstGeom>
          <a:ln w="127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6282818" y="1620000"/>
            <a:ext cx="0" cy="4485600"/>
          </a:xfrm>
          <a:prstGeom prst="line">
            <a:avLst/>
          </a:prstGeom>
          <a:ln w="127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9119988" y="1620000"/>
            <a:ext cx="0" cy="4485600"/>
          </a:xfrm>
          <a:prstGeom prst="line">
            <a:avLst/>
          </a:prstGeom>
          <a:ln w="127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7" name="Date Placeholder 2">
            <a:extLst>
              <a:ext uri="{FF2B5EF4-FFF2-40B4-BE49-F238E27FC236}">
                <a16:creationId xmlns:a16="http://schemas.microsoft.com/office/drawing/2014/main" id="{F6F38ACB-C8EC-3D25-C759-F91C38DF3BEE}"/>
              </a:ext>
            </a:extLst>
          </p:cNvPr>
          <p:cNvSpPr>
            <a:spLocks noGrp="1"/>
          </p:cNvSpPr>
          <p:nvPr>
            <p:ph type="dt" sz="half" idx="21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F403065-36CE-4048-A8FF-B5D49354C286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4139126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80" y="1620000"/>
            <a:ext cx="5055058" cy="4485600"/>
          </a:xfrm>
          <a:prstGeom prst="rect">
            <a:avLst/>
          </a:prstGeom>
          <a:ln>
            <a:noFill/>
          </a:ln>
        </p:spPr>
        <p:txBody>
          <a:bodyPr lIns="90000" tIns="36000" rIns="90000"/>
          <a:lstStyle>
            <a:lvl1pPr>
              <a:spcAft>
                <a:spcPts val="1800"/>
              </a:spcAft>
              <a:defRPr sz="2500"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>
                <a:solidFill>
                  <a:schemeClr val="accent2"/>
                </a:solidFill>
                <a:latin typeface="+mj-lt"/>
              </a:defRPr>
            </a:lvl2pPr>
            <a:lvl3pPr marL="0" indent="0">
              <a:buFont typeface="Wingdings" panose="05000000000000000000" pitchFamily="2" charset="2"/>
              <a:buNone/>
              <a:defRPr/>
            </a:lvl3pPr>
            <a:lvl4pPr marL="180000" indent="-180000">
              <a:buFont typeface="Wingdings" panose="05000000000000000000" pitchFamily="2" charset="2"/>
              <a:buChar char=""/>
              <a:defRPr/>
            </a:lvl4pPr>
            <a:lvl5pPr marL="360000" indent="-180000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6527650" y="1620000"/>
            <a:ext cx="5055058" cy="4485600"/>
          </a:xfrm>
          <a:prstGeom prst="rect">
            <a:avLst/>
          </a:prstGeom>
          <a:ln w="12700">
            <a:noFill/>
          </a:ln>
        </p:spPr>
        <p:txBody>
          <a:bodyPr lIns="90000" tIns="36000" rIns="90000"/>
          <a:lstStyle>
            <a:lvl1pPr>
              <a:spcAft>
                <a:spcPts val="1800"/>
              </a:spcAft>
              <a:defRPr sz="2500">
                <a:ln>
                  <a:noFill/>
                </a:ln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>
                <a:ln>
                  <a:noFill/>
                </a:ln>
                <a:solidFill>
                  <a:schemeClr val="accent2"/>
                </a:solidFill>
                <a:latin typeface="+mj-lt"/>
              </a:defRPr>
            </a:lvl2pPr>
            <a:lvl3pPr marL="0" indent="0">
              <a:buNone/>
              <a:defRPr>
                <a:ln>
                  <a:noFill/>
                </a:ln>
              </a:defRPr>
            </a:lvl3pPr>
            <a:lvl4pPr marL="180000" indent="-180000">
              <a:buFont typeface="Wingdings" panose="05000000000000000000" pitchFamily="2" charset="2"/>
              <a:buChar char=""/>
              <a:defRPr>
                <a:ln>
                  <a:noFill/>
                </a:ln>
              </a:defRPr>
            </a:lvl4pPr>
            <a:lvl5pPr marL="360000" indent="-180000">
              <a:buFont typeface="Arial" panose="020B0604020202020204" pitchFamily="34" charset="0"/>
              <a:buChar char="–"/>
              <a:defRPr>
                <a:ln>
                  <a:noFill/>
                </a:ln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D732E3B0-B51D-4ADA-8D73-821FEDBB1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9" y="457200"/>
            <a:ext cx="5487114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5BA71635-73AA-4E06-8A05-F774811244B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79" y="943199"/>
            <a:ext cx="5487114" cy="324000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©            Australia Pos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21"/>
          </p:nvPr>
        </p:nvSpPr>
        <p:spPr>
          <a:xfrm>
            <a:off x="766863" y="4824000"/>
            <a:ext cx="1080141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17" name="Picture Placeholder 9"/>
          <p:cNvSpPr>
            <a:spLocks noGrp="1"/>
          </p:cNvSpPr>
          <p:nvPr>
            <p:ph type="pic" sz="quarter" idx="22"/>
          </p:nvPr>
        </p:nvSpPr>
        <p:spPr>
          <a:xfrm>
            <a:off x="6689671" y="4824000"/>
            <a:ext cx="1080141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11" name="Date Placeholder 2">
            <a:extLst>
              <a:ext uri="{FF2B5EF4-FFF2-40B4-BE49-F238E27FC236}">
                <a16:creationId xmlns:a16="http://schemas.microsoft.com/office/drawing/2014/main" id="{534D3D2F-3DFB-B539-76B7-8D888BCB8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1E70B18-C00C-47B5-B153-0CCE097E5973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7354396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m 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9679" y="1620000"/>
            <a:ext cx="4929042" cy="4485600"/>
          </a:xfrm>
          <a:prstGeom prst="rect">
            <a:avLst/>
          </a:prstGeom>
          <a:ln>
            <a:noFill/>
          </a:ln>
        </p:spPr>
        <p:txBody>
          <a:bodyPr lIns="0" tIns="0" rIns="90000"/>
          <a:lstStyle>
            <a:lvl1pPr>
              <a:spcAft>
                <a:spcPts val="15200"/>
              </a:spcAft>
              <a:defRPr sz="2000" spc="-50" baseline="0">
                <a:solidFill>
                  <a:schemeClr val="accent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 sz="1400" spc="0" baseline="0">
                <a:solidFill>
                  <a:schemeClr val="tx1"/>
                </a:solidFill>
                <a:latin typeface="+mn-lt"/>
              </a:defRPr>
            </a:lvl2pPr>
            <a:lvl3pPr marL="0" indent="0">
              <a:buFont typeface="Wingdings" panose="05000000000000000000" pitchFamily="2" charset="2"/>
              <a:buNone/>
              <a:defRPr/>
            </a:lvl3pPr>
            <a:lvl4pPr marL="180000" indent="-180000">
              <a:buFont typeface="Wingdings" panose="05000000000000000000" pitchFamily="2" charset="2"/>
              <a:buChar char=""/>
              <a:defRPr/>
            </a:lvl4pPr>
            <a:lvl5pPr marL="360000" indent="-180000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From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6653666" y="1620000"/>
            <a:ext cx="4929042" cy="4485600"/>
          </a:xfrm>
          <a:prstGeom prst="rect">
            <a:avLst/>
          </a:prstGeom>
        </p:spPr>
        <p:txBody>
          <a:bodyPr lIns="0" tIns="0" rIns="90000"/>
          <a:lstStyle>
            <a:lvl1pPr>
              <a:spcAft>
                <a:spcPts val="15200"/>
              </a:spcAft>
              <a:defRPr sz="2000" spc="-50" baseline="0">
                <a:solidFill>
                  <a:schemeClr val="accent2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None/>
              <a:defRPr sz="1400" spc="0" baseline="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/>
            </a:lvl3pPr>
            <a:lvl4pPr marL="180000" indent="-180000">
              <a:buFont typeface="Wingdings" panose="05000000000000000000" pitchFamily="2" charset="2"/>
              <a:buChar char=""/>
              <a:defRPr/>
            </a:lvl4pPr>
            <a:lvl5pPr marL="360000" indent="-180000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To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D732E3B0-B51D-4ADA-8D73-821FEDBB1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9" y="457200"/>
            <a:ext cx="5487114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©            Australia Pos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6444839" y="1620000"/>
            <a:ext cx="0" cy="4485600"/>
          </a:xfrm>
          <a:prstGeom prst="line">
            <a:avLst/>
          </a:prstGeom>
          <a:ln w="127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0" name="Picture Placeholder 9"/>
          <p:cNvSpPr>
            <a:spLocks noGrp="1"/>
          </p:cNvSpPr>
          <p:nvPr>
            <p:ph type="pic" sz="quarter" idx="21"/>
          </p:nvPr>
        </p:nvSpPr>
        <p:spPr>
          <a:xfrm>
            <a:off x="626481" y="2124000"/>
            <a:ext cx="1440188" cy="144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AU"/>
          </a:p>
        </p:txBody>
      </p:sp>
      <p:pic>
        <p:nvPicPr>
          <p:cNvPr id="18" name="Graphic 16">
            <a:extLst>
              <a:ext uri="{FF2B5EF4-FFF2-40B4-BE49-F238E27FC236}">
                <a16:creationId xmlns:a16="http://schemas.microsoft.com/office/drawing/2014/main" id="{93431B78-A15E-4977-A09F-68E7B95D35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0782" y="1620000"/>
            <a:ext cx="360047" cy="360000"/>
          </a:xfrm>
          <a:prstGeom prst="rect">
            <a:avLst/>
          </a:prstGeom>
        </p:spPr>
      </p:pic>
      <p:sp>
        <p:nvSpPr>
          <p:cNvPr id="21" name="Picture Placeholder 9"/>
          <p:cNvSpPr>
            <a:spLocks noGrp="1"/>
          </p:cNvSpPr>
          <p:nvPr>
            <p:ph type="pic" sz="quarter" idx="22"/>
          </p:nvPr>
        </p:nvSpPr>
        <p:spPr>
          <a:xfrm>
            <a:off x="6671669" y="2124000"/>
            <a:ext cx="1440188" cy="144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5BA71635-73AA-4E06-8A05-F774811244B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79" y="943199"/>
            <a:ext cx="5487114" cy="324000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12" name="Date Placeholder 2">
            <a:extLst>
              <a:ext uri="{FF2B5EF4-FFF2-40B4-BE49-F238E27FC236}">
                <a16:creationId xmlns:a16="http://schemas.microsoft.com/office/drawing/2014/main" id="{4035DF32-AC26-AB44-EE39-4AD145D9DA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7646379E-0033-4CA6-8976-0F53A7D07068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3815291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609679" y="1472401"/>
            <a:ext cx="3414629" cy="2197417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09679" y="3852000"/>
            <a:ext cx="3414629" cy="2313304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000" b="0">
                <a:solidFill>
                  <a:schemeClr val="accent2"/>
                </a:solidFill>
                <a:latin typeface="+mj-lt"/>
              </a:defRPr>
            </a:lvl1pPr>
            <a:lvl2pPr marL="0" indent="0">
              <a:spcAft>
                <a:spcPts val="300"/>
              </a:spcAft>
              <a:buFontTx/>
              <a:buNone/>
              <a:defRPr/>
            </a:lvl2pPr>
            <a:lvl3pPr marL="180000" indent="-180000">
              <a:spcAft>
                <a:spcPts val="300"/>
              </a:spcAft>
              <a:buFont typeface="Arial" panose="020B0604020202020204" pitchFamily="34" charset="0"/>
              <a:buChar char="•"/>
              <a:defRPr/>
            </a:lvl3pPr>
            <a:lvl4pPr marL="360000" indent="-180000">
              <a:spcAft>
                <a:spcPts val="300"/>
              </a:spcAft>
              <a:buFont typeface="Arial" panose="020B0604020202020204" pitchFamily="34" charset="0"/>
              <a:buChar char="–"/>
              <a:defRPr/>
            </a:lvl4pPr>
            <a:lvl5pPr marL="540000" indent="-180000">
              <a:spcAft>
                <a:spcPts val="300"/>
              </a:spcAft>
              <a:buFont typeface="Arial" panose="020B0604020202020204" pitchFamily="34" charset="0"/>
              <a:buChar char="◦"/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390540" y="1472401"/>
            <a:ext cx="3412511" cy="2197417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8169282" y="1472401"/>
            <a:ext cx="3414628" cy="2197417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4390539" y="3852000"/>
            <a:ext cx="3414629" cy="2313304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000" b="0">
                <a:solidFill>
                  <a:schemeClr val="accent2"/>
                </a:solidFill>
                <a:latin typeface="+mj-lt"/>
              </a:defRPr>
            </a:lvl1pPr>
            <a:lvl2pPr marL="0" indent="0">
              <a:spcAft>
                <a:spcPts val="300"/>
              </a:spcAft>
              <a:buFontTx/>
              <a:buNone/>
              <a:defRPr/>
            </a:lvl2pPr>
            <a:lvl3pPr marL="180000" indent="-180000">
              <a:spcAft>
                <a:spcPts val="300"/>
              </a:spcAft>
              <a:buFont typeface="Arial" panose="020B0604020202020204" pitchFamily="34" charset="0"/>
              <a:buChar char="•"/>
              <a:defRPr/>
            </a:lvl3pPr>
            <a:lvl4pPr marL="360000" indent="-180000">
              <a:spcAft>
                <a:spcPts val="300"/>
              </a:spcAft>
              <a:buFont typeface="Arial" panose="020B0604020202020204" pitchFamily="34" charset="0"/>
              <a:buChar char="–"/>
              <a:defRPr/>
            </a:lvl4pPr>
            <a:lvl5pPr marL="540000" indent="-180000">
              <a:spcAft>
                <a:spcPts val="300"/>
              </a:spcAft>
              <a:buFont typeface="Arial" panose="020B0604020202020204" pitchFamily="34" charset="0"/>
              <a:buChar char="◦"/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8169492" y="3852000"/>
            <a:ext cx="3414629" cy="2313304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000" b="0">
                <a:solidFill>
                  <a:schemeClr val="accent2"/>
                </a:solidFill>
                <a:latin typeface="+mj-lt"/>
              </a:defRPr>
            </a:lvl1pPr>
            <a:lvl2pPr marL="0" indent="0">
              <a:spcAft>
                <a:spcPts val="300"/>
              </a:spcAft>
              <a:buFontTx/>
              <a:buNone/>
              <a:defRPr/>
            </a:lvl2pPr>
            <a:lvl3pPr marL="180000" indent="-180000">
              <a:spcAft>
                <a:spcPts val="300"/>
              </a:spcAft>
              <a:buFont typeface="Arial" panose="020B0604020202020204" pitchFamily="34" charset="0"/>
              <a:buChar char="•"/>
              <a:defRPr/>
            </a:lvl3pPr>
            <a:lvl4pPr marL="360000" indent="-180000">
              <a:spcAft>
                <a:spcPts val="300"/>
              </a:spcAft>
              <a:buFont typeface="Arial" panose="020B0604020202020204" pitchFamily="34" charset="0"/>
              <a:buChar char="–"/>
              <a:defRPr/>
            </a:lvl4pPr>
            <a:lvl5pPr marL="540000" indent="-180000">
              <a:spcAft>
                <a:spcPts val="300"/>
              </a:spcAft>
              <a:buFont typeface="Arial" panose="020B0604020202020204" pitchFamily="34" charset="0"/>
              <a:buChar char="◦"/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72464817-123C-4B27-BFA9-96FF313666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9" y="457200"/>
            <a:ext cx="5487114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1D3660D6-55A1-411B-AFE2-CAE5C9E758B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679" y="943199"/>
            <a:ext cx="5487114" cy="324000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7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©            Australia Pos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>
              <a:defRPr sz="1100"/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Date Placeholder 2">
            <a:extLst>
              <a:ext uri="{FF2B5EF4-FFF2-40B4-BE49-F238E27FC236}">
                <a16:creationId xmlns:a16="http://schemas.microsoft.com/office/drawing/2014/main" id="{1798A90D-7764-DAE5-59D9-D3CE37C886D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67F5AB3-9E5E-42ED-858D-7BDB0C6213CF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822984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 noChangeAspect="1"/>
          </p:cNvSpPr>
          <p:nvPr>
            <p:ph type="pic" sz="quarter" idx="13"/>
          </p:nvPr>
        </p:nvSpPr>
        <p:spPr>
          <a:xfrm>
            <a:off x="609679" y="1620000"/>
            <a:ext cx="2544856" cy="132588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3409644" y="1620000"/>
            <a:ext cx="2545532" cy="132473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6239865" y="1620000"/>
            <a:ext cx="2545236" cy="132588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9"/>
          <p:cNvSpPr>
            <a:spLocks noGrp="1" noChangeAspect="1"/>
          </p:cNvSpPr>
          <p:nvPr>
            <p:ph type="pic" sz="quarter" idx="19"/>
          </p:nvPr>
        </p:nvSpPr>
        <p:spPr>
          <a:xfrm>
            <a:off x="9038671" y="1620000"/>
            <a:ext cx="2545237" cy="132588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Content Placeholder 6"/>
          <p:cNvSpPr>
            <a:spLocks noGrp="1"/>
          </p:cNvSpPr>
          <p:nvPr>
            <p:ph sz="quarter" idx="25"/>
          </p:nvPr>
        </p:nvSpPr>
        <p:spPr>
          <a:xfrm>
            <a:off x="612080" y="2962800"/>
            <a:ext cx="2546973" cy="3150000"/>
          </a:xfrm>
        </p:spPr>
        <p:txBody>
          <a:bodyPr lIns="90000" tIns="72000"/>
          <a:lstStyle>
            <a:lvl1pPr>
              <a:spcAft>
                <a:spcPts val="300"/>
              </a:spcAft>
              <a:defRPr sz="2500"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 sz="1400">
                <a:solidFill>
                  <a:schemeClr val="accent2"/>
                </a:solidFill>
                <a:latin typeface="+mj-lt"/>
              </a:defRPr>
            </a:lvl2pPr>
            <a:lvl3pPr marL="0" indent="0">
              <a:spcAft>
                <a:spcPts val="300"/>
              </a:spcAft>
              <a:buFont typeface="Wingdings" panose="05000000000000000000" pitchFamily="2" charset="2"/>
              <a:buNone/>
              <a:defRPr sz="1400"/>
            </a:lvl3pPr>
            <a:lvl4pPr marL="180000" indent="-180000">
              <a:spcAft>
                <a:spcPts val="300"/>
              </a:spcAft>
              <a:buFont typeface="Wingdings" panose="05000000000000000000" pitchFamily="2" charset="2"/>
              <a:buChar char=""/>
              <a:defRPr sz="1400"/>
            </a:lvl4pPr>
            <a:lvl5pPr marL="360000" indent="-180000">
              <a:spcAft>
                <a:spcPts val="300"/>
              </a:spcAft>
              <a:buFont typeface="Arial" panose="020B0604020202020204" pitchFamily="34" charset="0"/>
              <a:buChar char="–"/>
              <a:defRPr sz="1400"/>
            </a:lvl5pPr>
            <a:lvl6pPr>
              <a:spcAft>
                <a:spcPts val="300"/>
              </a:spcAft>
              <a:buAutoNum type="arabicPeriod"/>
              <a:defRPr sz="1400"/>
            </a:lvl6pPr>
            <a:lvl7pPr>
              <a:spcAft>
                <a:spcPts val="300"/>
              </a:spcAft>
              <a:buAutoNum type="alphaLcPeriod"/>
              <a:defRPr sz="1400"/>
            </a:lvl7pPr>
            <a:lvl8pPr>
              <a:spcAft>
                <a:spcPts val="300"/>
              </a:spcAft>
              <a:buAutoNum type="romanLcPeriod"/>
              <a:defRPr sz="1400"/>
            </a:lvl8pPr>
            <a:lvl9pPr>
              <a:spcAft>
                <a:spcPts val="300"/>
              </a:spcAft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6"/>
          <p:cNvSpPr>
            <a:spLocks noGrp="1"/>
          </p:cNvSpPr>
          <p:nvPr>
            <p:ph sz="quarter" idx="26"/>
          </p:nvPr>
        </p:nvSpPr>
        <p:spPr>
          <a:xfrm>
            <a:off x="3413244" y="2962800"/>
            <a:ext cx="2545532" cy="3150000"/>
          </a:xfrm>
        </p:spPr>
        <p:txBody>
          <a:bodyPr lIns="90000" tIns="72000"/>
          <a:lstStyle>
            <a:lvl1pPr>
              <a:spcAft>
                <a:spcPts val="300"/>
              </a:spcAft>
              <a:defRPr sz="2500"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 sz="1400">
                <a:solidFill>
                  <a:schemeClr val="accent2"/>
                </a:solidFill>
                <a:latin typeface="+mj-lt"/>
              </a:defRPr>
            </a:lvl2pPr>
            <a:lvl3pPr marL="0" indent="0">
              <a:spcAft>
                <a:spcPts val="300"/>
              </a:spcAft>
              <a:buNone/>
              <a:defRPr sz="1400"/>
            </a:lvl3pPr>
            <a:lvl4pPr marL="180000" indent="-180000">
              <a:spcAft>
                <a:spcPts val="300"/>
              </a:spcAft>
              <a:buFont typeface="Wingdings" panose="05000000000000000000" pitchFamily="2" charset="2"/>
              <a:buChar char=""/>
              <a:defRPr sz="1400"/>
            </a:lvl4pPr>
            <a:lvl5pPr marL="360000" indent="-180000">
              <a:spcAft>
                <a:spcPts val="300"/>
              </a:spcAft>
              <a:buFont typeface="Arial" panose="020B0604020202020204" pitchFamily="34" charset="0"/>
              <a:buChar char="–"/>
              <a:defRPr sz="1400"/>
            </a:lvl5pPr>
            <a:lvl6pPr>
              <a:spcAft>
                <a:spcPts val="300"/>
              </a:spcAft>
              <a:buAutoNum type="arabicPeriod"/>
              <a:defRPr sz="1400"/>
            </a:lvl6pPr>
            <a:lvl7pPr>
              <a:spcAft>
                <a:spcPts val="300"/>
              </a:spcAft>
              <a:buAutoNum type="alphaLcPeriod"/>
              <a:defRPr sz="1400"/>
            </a:lvl7pPr>
            <a:lvl8pPr>
              <a:spcAft>
                <a:spcPts val="300"/>
              </a:spcAft>
              <a:buAutoNum type="romanLcPeriod"/>
              <a:defRPr sz="1400"/>
            </a:lvl8pPr>
            <a:lvl9pPr>
              <a:spcAft>
                <a:spcPts val="300"/>
              </a:spcAft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Content Placeholder 6"/>
          <p:cNvSpPr>
            <a:spLocks noGrp="1"/>
          </p:cNvSpPr>
          <p:nvPr>
            <p:ph sz="quarter" idx="27"/>
          </p:nvPr>
        </p:nvSpPr>
        <p:spPr>
          <a:xfrm>
            <a:off x="6239612" y="2962800"/>
            <a:ext cx="2545532" cy="3150000"/>
          </a:xfrm>
        </p:spPr>
        <p:txBody>
          <a:bodyPr lIns="90000" tIns="72000"/>
          <a:lstStyle>
            <a:lvl1pPr>
              <a:spcAft>
                <a:spcPts val="300"/>
              </a:spcAft>
              <a:defRPr sz="2500"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 sz="1400">
                <a:solidFill>
                  <a:schemeClr val="accent2"/>
                </a:solidFill>
                <a:latin typeface="+mj-lt"/>
              </a:defRPr>
            </a:lvl2pPr>
            <a:lvl3pPr marL="0" indent="0">
              <a:spcAft>
                <a:spcPts val="300"/>
              </a:spcAft>
              <a:buNone/>
              <a:defRPr sz="1400"/>
            </a:lvl3pPr>
            <a:lvl4pPr marL="180000" indent="-180000">
              <a:spcAft>
                <a:spcPts val="300"/>
              </a:spcAft>
              <a:buFont typeface="Wingdings" panose="05000000000000000000" pitchFamily="2" charset="2"/>
              <a:buChar char=""/>
              <a:defRPr sz="1400"/>
            </a:lvl4pPr>
            <a:lvl5pPr marL="360000" indent="-180000">
              <a:spcAft>
                <a:spcPts val="300"/>
              </a:spcAft>
              <a:buFont typeface="Arial" panose="020B0604020202020204" pitchFamily="34" charset="0"/>
              <a:buChar char="–"/>
              <a:defRPr sz="1400"/>
            </a:lvl5pPr>
            <a:lvl6pPr>
              <a:spcAft>
                <a:spcPts val="300"/>
              </a:spcAft>
              <a:buAutoNum type="arabicPeriod"/>
              <a:defRPr sz="1400"/>
            </a:lvl6pPr>
            <a:lvl7pPr>
              <a:spcAft>
                <a:spcPts val="300"/>
              </a:spcAft>
              <a:buAutoNum type="alphaLcPeriod"/>
              <a:defRPr sz="1400"/>
            </a:lvl7pPr>
            <a:lvl8pPr>
              <a:spcAft>
                <a:spcPts val="300"/>
              </a:spcAft>
              <a:buAutoNum type="romanLcPeriod"/>
              <a:defRPr sz="1400"/>
            </a:lvl8pPr>
            <a:lvl9pPr>
              <a:spcAft>
                <a:spcPts val="300"/>
              </a:spcAft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6"/>
          <p:cNvSpPr>
            <a:spLocks noGrp="1"/>
          </p:cNvSpPr>
          <p:nvPr>
            <p:ph sz="quarter" idx="28"/>
          </p:nvPr>
        </p:nvSpPr>
        <p:spPr>
          <a:xfrm>
            <a:off x="9040777" y="2962800"/>
            <a:ext cx="2545532" cy="3150000"/>
          </a:xfrm>
        </p:spPr>
        <p:txBody>
          <a:bodyPr lIns="90000" tIns="72000"/>
          <a:lstStyle>
            <a:lvl1pPr>
              <a:spcAft>
                <a:spcPts val="300"/>
              </a:spcAft>
              <a:defRPr sz="2500"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 sz="1400">
                <a:solidFill>
                  <a:schemeClr val="accent2"/>
                </a:solidFill>
                <a:latin typeface="+mj-lt"/>
              </a:defRPr>
            </a:lvl2pPr>
            <a:lvl3pPr marL="0" indent="0">
              <a:spcAft>
                <a:spcPts val="300"/>
              </a:spcAft>
              <a:buNone/>
              <a:defRPr sz="1400"/>
            </a:lvl3pPr>
            <a:lvl4pPr marL="180000" indent="-180000">
              <a:spcAft>
                <a:spcPts val="300"/>
              </a:spcAft>
              <a:buFont typeface="Wingdings" panose="05000000000000000000" pitchFamily="2" charset="2"/>
              <a:buChar char=""/>
              <a:defRPr sz="1400"/>
            </a:lvl4pPr>
            <a:lvl5pPr marL="360000" indent="-180000">
              <a:spcAft>
                <a:spcPts val="300"/>
              </a:spcAft>
              <a:buFont typeface="Arial" panose="020B0604020202020204" pitchFamily="34" charset="0"/>
              <a:buChar char="–"/>
              <a:defRPr sz="1400"/>
            </a:lvl5pPr>
            <a:lvl6pPr>
              <a:spcAft>
                <a:spcPts val="300"/>
              </a:spcAft>
              <a:buAutoNum type="arabicPeriod"/>
              <a:defRPr sz="1400"/>
            </a:lvl6pPr>
            <a:lvl7pPr>
              <a:spcAft>
                <a:spcPts val="300"/>
              </a:spcAft>
              <a:buAutoNum type="alphaLcPeriod"/>
              <a:defRPr sz="1400"/>
            </a:lvl7pPr>
            <a:lvl8pPr>
              <a:spcAft>
                <a:spcPts val="300"/>
              </a:spcAft>
              <a:buAutoNum type="romanLcPeriod"/>
              <a:defRPr sz="1400"/>
            </a:lvl8pPr>
            <a:lvl9pPr>
              <a:spcAft>
                <a:spcPts val="300"/>
              </a:spcAft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C14389EA-5C98-4ED8-B071-33DA41E3C3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9" y="457200"/>
            <a:ext cx="5487114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80E378C3-4C1D-4758-9B08-8648B31550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79" y="943199"/>
            <a:ext cx="5487114" cy="324000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25" name="Slide Number Placeholder 2">
            <a:extLst>
              <a:ext uri="{FF2B5EF4-FFF2-40B4-BE49-F238E27FC236}">
                <a16:creationId xmlns:a16="http://schemas.microsoft.com/office/drawing/2014/main" id="{2A2C8632-969A-4EB3-9DEF-0FBE08EA6E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652" y="6372000"/>
            <a:ext cx="432056" cy="214648"/>
          </a:xfrm>
          <a:prstGeom prst="rect">
            <a:avLst/>
          </a:prstGeom>
        </p:spPr>
        <p:txBody>
          <a:bodyPr rIns="0" bIns="0" anchor="b" anchorCtr="0"/>
          <a:lstStyle>
            <a:lvl1pPr algn="r">
              <a:defRPr sz="1100" b="0">
                <a:solidFill>
                  <a:schemeClr val="tx1"/>
                </a:solidFill>
                <a:latin typeface="AP Type Text Bold" panose="020B0803030202060203"/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5DC2FBCE-0B1F-4AE3-8158-DC98C63725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01289" y="6372000"/>
            <a:ext cx="1188155" cy="216000"/>
          </a:xfrm>
          <a:prstGeom prst="rect">
            <a:avLst/>
          </a:prstGeom>
        </p:spPr>
        <p:txBody>
          <a:bodyPr lIns="0" rIns="0" bIns="0" anchor="b" anchorCtr="0"/>
          <a:lstStyle>
            <a:lvl1pPr algn="r">
              <a:defRPr sz="800">
                <a:solidFill>
                  <a:schemeClr val="tx1"/>
                </a:solidFill>
                <a:latin typeface="AP Type Text" panose="020B0503030202060203" pitchFamily="34" charset="0"/>
              </a:defRPr>
            </a:lvl1pPr>
          </a:lstStyle>
          <a:p>
            <a:r>
              <a:rPr lang="en-AU"/>
              <a:t>©            Australia Post</a:t>
            </a:r>
          </a:p>
        </p:txBody>
      </p:sp>
      <p:sp>
        <p:nvSpPr>
          <p:cNvPr id="15" name="Date Placeholder 2">
            <a:extLst>
              <a:ext uri="{FF2B5EF4-FFF2-40B4-BE49-F238E27FC236}">
                <a16:creationId xmlns:a16="http://schemas.microsoft.com/office/drawing/2014/main" id="{2E0047A2-498C-A9DB-72E6-FA7A3E4B411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8947372-AA78-4ACA-9016-38D8AE9BA700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614916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bg>
      <p:bgPr>
        <a:solidFill>
          <a:srgbClr val="D3D3D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3BE6238-BC49-4A19-8543-DD53C812780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9145192" cy="6858000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F27D51EE-B754-4E80-9DD0-A43B06A3100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80" y="1484784"/>
            <a:ext cx="5307704" cy="1446062"/>
          </a:xfrm>
        </p:spPr>
        <p:txBody>
          <a:bodyPr anchor="b" anchorCtr="0">
            <a:no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GB" sz="4000" b="0" kern="1200" dirty="0">
                <a:solidFill>
                  <a:schemeClr val="tx1"/>
                </a:solidFill>
                <a:latin typeface="+mj-lt"/>
                <a:ea typeface="Roboto" panose="02000000000000000000" pitchFamily="2" charset="0"/>
                <a:cs typeface="+mj-cs"/>
              </a:defRPr>
            </a:lvl1pPr>
          </a:lstStyle>
          <a:p>
            <a:r>
              <a:rPr lang="en-US"/>
              <a:t>[Presentation title</a:t>
            </a:r>
            <a:br>
              <a:rPr lang="en-US"/>
            </a:br>
            <a:r>
              <a:rPr lang="en-US"/>
              <a:t>over two lines]</a:t>
            </a:r>
            <a:endParaRPr lang="en-GB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B4094AB7-FD5C-498A-AFED-7CD34182C4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80" y="3745995"/>
            <a:ext cx="5307704" cy="290122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/>
              <a:t>[Author]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2C8A0424-3C34-4783-B0F4-DA830E69A9B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79" y="478801"/>
            <a:ext cx="2779499" cy="206101"/>
          </a:xfrm>
        </p:spPr>
        <p:txBody>
          <a:bodyPr/>
          <a:lstStyle>
            <a:lvl1pPr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[Date]</a:t>
            </a:r>
            <a:endParaRPr lang="en-AU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D46268B-8EFD-44F5-AFFC-783269A3DA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80" y="4056603"/>
            <a:ext cx="5307701" cy="26545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b="0"/>
              <a:t>[Business Unit Team]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30BFC40B-3252-44D5-B79C-40B9046F8C9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80" y="2988356"/>
            <a:ext cx="5307704" cy="409066"/>
          </a:xfrm>
        </p:spPr>
        <p:txBody>
          <a:bodyPr/>
          <a:lstStyle>
            <a:lvl1pPr>
              <a:defRPr sz="25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/>
              <a:t>[Presentation subtitle]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-1"/>
          <a:stretch/>
        </p:blipFill>
        <p:spPr>
          <a:xfrm>
            <a:off x="626481" y="6138000"/>
            <a:ext cx="1724625" cy="3672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0"/>
            <a:ext cx="33124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AU" sz="1400"/>
          </a:p>
        </p:txBody>
      </p:sp>
    </p:spTree>
    <p:extLst>
      <p:ext uri="{BB962C8B-B14F-4D97-AF65-F5344CB8AC3E}">
        <p14:creationId xmlns:p14="http://schemas.microsoft.com/office/powerpoint/2010/main" val="295299955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9679" y="1472400"/>
            <a:ext cx="1950974" cy="469440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  <a:lvl6pPr>
              <a:defRPr sz="1200">
                <a:latin typeface="+mn-lt"/>
              </a:defRPr>
            </a:lvl6pPr>
            <a:lvl7pPr>
              <a:defRPr sz="1200">
                <a:latin typeface="+mn-lt"/>
              </a:defRPr>
            </a:lvl7pPr>
            <a:lvl8pPr>
              <a:defRPr sz="1200">
                <a:latin typeface="+mn-lt"/>
              </a:defRPr>
            </a:lvl8pPr>
            <a:lvl9pPr>
              <a:defRPr sz="1200" b="0">
                <a:solidFill>
                  <a:schemeClr val="accent2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865493" y="1472400"/>
            <a:ext cx="1950974" cy="46944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5121307" y="1472400"/>
            <a:ext cx="1950974" cy="46944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7377121" y="1472400"/>
            <a:ext cx="1950974" cy="46944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3"/>
          <p:cNvSpPr>
            <a:spLocks noGrp="1"/>
          </p:cNvSpPr>
          <p:nvPr>
            <p:ph sz="half" idx="15" hasCustomPrompt="1"/>
          </p:nvPr>
        </p:nvSpPr>
        <p:spPr>
          <a:xfrm>
            <a:off x="9632935" y="1472400"/>
            <a:ext cx="1950974" cy="46944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D031DFDC-E019-4FB4-A743-703517B050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79" y="457200"/>
            <a:ext cx="5487114" cy="468000"/>
          </a:xfrm>
        </p:spPr>
        <p:txBody>
          <a:bodyPr/>
          <a:lstStyle>
            <a:lvl1pPr>
              <a:defRPr sz="25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6E7D71BC-AA55-4734-9E9E-06C0CA42907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79" y="943199"/>
            <a:ext cx="5487114" cy="324000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69266269-07CE-4792-BDDD-94121F7BC8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0652" y="6372000"/>
            <a:ext cx="432056" cy="214648"/>
          </a:xfrm>
          <a:prstGeom prst="rect">
            <a:avLst/>
          </a:prstGeom>
        </p:spPr>
        <p:txBody>
          <a:bodyPr rIns="0" bIns="0" anchor="b" anchorCtr="0"/>
          <a:lstStyle>
            <a:lvl1pPr algn="r">
              <a:defRPr sz="1100" b="0">
                <a:solidFill>
                  <a:schemeClr val="tx1"/>
                </a:solidFill>
                <a:latin typeface="AP Type Text Bold" panose="020B0803030202060203"/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CFE8BDBF-08EB-4323-9C54-50BFCA0C14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 lIns="0" rIns="0" bIns="0" anchor="b" anchorCtr="0"/>
          <a:lstStyle>
            <a:lvl1pPr algn="r">
              <a:defRPr sz="800">
                <a:solidFill>
                  <a:schemeClr val="tx1"/>
                </a:solidFill>
                <a:latin typeface="AP Type Text" panose="020B0503030202060203" pitchFamily="34" charset="0"/>
              </a:defRPr>
            </a:lvl1pPr>
          </a:lstStyle>
          <a:p>
            <a:r>
              <a:rPr lang="en-AU"/>
              <a:t>©            Australia Post</a:t>
            </a:r>
          </a:p>
        </p:txBody>
      </p:sp>
      <p:sp>
        <p:nvSpPr>
          <p:cNvPr id="11" name="Date Placeholder 2">
            <a:extLst>
              <a:ext uri="{FF2B5EF4-FFF2-40B4-BE49-F238E27FC236}">
                <a16:creationId xmlns:a16="http://schemas.microsoft.com/office/drawing/2014/main" id="{1D5E0723-B017-D186-4702-2F8850F80CDF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633489C-D4FE-4897-A031-63BED4674C99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8068867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48503D0-434F-46A6-A0D7-FCA9933AA8F5}"/>
              </a:ext>
            </a:extLst>
          </p:cNvPr>
          <p:cNvSpPr txBox="1"/>
          <p:nvPr userDrawn="1"/>
        </p:nvSpPr>
        <p:spPr>
          <a:xfrm>
            <a:off x="626014" y="2204865"/>
            <a:ext cx="3528851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AU" sz="5000" b="0" kern="1200" spc="-130" baseline="0">
                <a:solidFill>
                  <a:schemeClr val="bg1"/>
                </a:solidFill>
                <a:latin typeface="+mj-lt"/>
                <a:ea typeface="Roboto" panose="02000000000000000000" pitchFamily="2" charset="0"/>
                <a:cs typeface="+mj-cs"/>
              </a:rPr>
              <a:t>Thank you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6BBE670-6D61-45DD-A74D-B7DD1D4D24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80" y="4624480"/>
            <a:ext cx="5307704" cy="290122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/>
              <a:t>[Author]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8B9A825-08CC-44BC-A4A3-FE28D463CE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80" y="4935088"/>
            <a:ext cx="5307701" cy="265457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b="0"/>
              <a:t>[Role]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FB85B51-C2F4-4233-958A-E666DC0FE9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5681" y="5221030"/>
            <a:ext cx="2521153" cy="36821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email@auspost.com.au</a:t>
            </a:r>
            <a:endParaRPr lang="en-AU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-1"/>
          <a:stretch/>
        </p:blipFill>
        <p:spPr>
          <a:xfrm>
            <a:off x="626481" y="6138000"/>
            <a:ext cx="1724625" cy="3672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1833975" y="3618304"/>
            <a:ext cx="4838958" cy="3847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2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en-US" sz="850" spc="0">
                <a:solidFill>
                  <a:schemeClr val="bg1"/>
                </a:solidFill>
                <a:latin typeface="+mn-lt"/>
              </a:rPr>
              <a:t>Australia Post acknowledges the Traditional Custodians of the land on which we operate, live</a:t>
            </a:r>
            <a:br>
              <a:rPr lang="en-US" sz="850" spc="0">
                <a:solidFill>
                  <a:schemeClr val="bg1"/>
                </a:solidFill>
                <a:latin typeface="+mn-lt"/>
              </a:rPr>
            </a:br>
            <a:r>
              <a:rPr lang="en-US" sz="850" spc="0">
                <a:solidFill>
                  <a:schemeClr val="bg1"/>
                </a:solidFill>
                <a:latin typeface="+mn-lt"/>
              </a:rPr>
              <a:t>and gather as a team. We </a:t>
            </a:r>
            <a:r>
              <a:rPr lang="en-US" sz="850" spc="0" err="1">
                <a:solidFill>
                  <a:schemeClr val="bg1"/>
                </a:solidFill>
                <a:latin typeface="+mn-lt"/>
              </a:rPr>
              <a:t>recognise</a:t>
            </a:r>
            <a:r>
              <a:rPr lang="en-US" sz="850" spc="0">
                <a:solidFill>
                  <a:schemeClr val="bg1"/>
                </a:solidFill>
                <a:latin typeface="+mn-lt"/>
              </a:rPr>
              <a:t> their continuing connection to land, water and community.</a:t>
            </a:r>
            <a:br>
              <a:rPr lang="en-US" sz="850" spc="0">
                <a:solidFill>
                  <a:schemeClr val="bg1"/>
                </a:solidFill>
                <a:latin typeface="+mn-lt"/>
              </a:rPr>
            </a:br>
            <a:r>
              <a:rPr lang="en-US" sz="850" spc="0">
                <a:solidFill>
                  <a:schemeClr val="bg1"/>
                </a:solidFill>
                <a:latin typeface="+mn-lt"/>
              </a:rPr>
              <a:t>We pay respect to Elders past, present and emerging.</a:t>
            </a:r>
            <a:endParaRPr lang="en-US" sz="850" spc="0" baseline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79" y="3573016"/>
            <a:ext cx="1080141" cy="525894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0"/>
            <a:ext cx="33124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AU" sz="1400"/>
          </a:p>
        </p:txBody>
      </p:sp>
    </p:spTree>
    <p:extLst>
      <p:ext uri="{BB962C8B-B14F-4D97-AF65-F5344CB8AC3E}">
        <p14:creationId xmlns:p14="http://schemas.microsoft.com/office/powerpoint/2010/main" val="12680332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 THANK YOU 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48503D0-434F-46A6-A0D7-FCA9933AA8F5}"/>
              </a:ext>
            </a:extLst>
          </p:cNvPr>
          <p:cNvSpPr txBox="1"/>
          <p:nvPr userDrawn="1"/>
        </p:nvSpPr>
        <p:spPr>
          <a:xfrm>
            <a:off x="626014" y="2204865"/>
            <a:ext cx="3528851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AU" sz="5000" b="0" kern="1200" spc="-130" baseline="0">
                <a:solidFill>
                  <a:schemeClr val="bg1"/>
                </a:solidFill>
                <a:latin typeface="+mj-lt"/>
                <a:ea typeface="Roboto" panose="02000000000000000000" pitchFamily="2" charset="0"/>
                <a:cs typeface="+mj-cs"/>
              </a:rPr>
              <a:t>Thank you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6BBE670-6D61-45DD-A74D-B7DD1D4D24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80" y="4624480"/>
            <a:ext cx="5307704" cy="290122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/>
              <a:t>[Author]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8B9A825-08CC-44BC-A4A3-FE28D463CE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80" y="4935088"/>
            <a:ext cx="5307701" cy="265457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b="0"/>
              <a:t>[Role]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FB85B51-C2F4-4233-958A-E666DC0FE9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5681" y="5221030"/>
            <a:ext cx="2521153" cy="36821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email@auspost.com.au</a:t>
            </a:r>
            <a:endParaRPr lang="en-AU"/>
          </a:p>
        </p:txBody>
      </p:sp>
      <p:sp>
        <p:nvSpPr>
          <p:cNvPr id="3" name="TextBox 2"/>
          <p:cNvSpPr txBox="1"/>
          <p:nvPr userDrawn="1"/>
        </p:nvSpPr>
        <p:spPr>
          <a:xfrm>
            <a:off x="1833975" y="3618304"/>
            <a:ext cx="4838958" cy="3847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2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en-US" sz="850" spc="0">
                <a:solidFill>
                  <a:schemeClr val="bg1"/>
                </a:solidFill>
                <a:latin typeface="+mn-lt"/>
              </a:rPr>
              <a:t>Australia Post acknowledges the Traditional Custodians of the land on which we operate, live</a:t>
            </a:r>
            <a:br>
              <a:rPr lang="en-US" sz="850" spc="0">
                <a:solidFill>
                  <a:schemeClr val="bg1"/>
                </a:solidFill>
                <a:latin typeface="+mn-lt"/>
              </a:rPr>
            </a:br>
            <a:r>
              <a:rPr lang="en-US" sz="850" spc="0">
                <a:solidFill>
                  <a:schemeClr val="bg1"/>
                </a:solidFill>
                <a:latin typeface="+mn-lt"/>
              </a:rPr>
              <a:t>and gather as a team. We </a:t>
            </a:r>
            <a:r>
              <a:rPr lang="en-US" sz="850" spc="0" err="1">
                <a:solidFill>
                  <a:schemeClr val="bg1"/>
                </a:solidFill>
                <a:latin typeface="+mn-lt"/>
              </a:rPr>
              <a:t>recognise</a:t>
            </a:r>
            <a:r>
              <a:rPr lang="en-US" sz="850" spc="0">
                <a:solidFill>
                  <a:schemeClr val="bg1"/>
                </a:solidFill>
                <a:latin typeface="+mn-lt"/>
              </a:rPr>
              <a:t> their continuing connection to land, water and community.</a:t>
            </a:r>
            <a:br>
              <a:rPr lang="en-US" sz="850" spc="0">
                <a:solidFill>
                  <a:schemeClr val="bg1"/>
                </a:solidFill>
                <a:latin typeface="+mn-lt"/>
              </a:rPr>
            </a:br>
            <a:r>
              <a:rPr lang="en-US" sz="850" spc="0">
                <a:solidFill>
                  <a:schemeClr val="bg1"/>
                </a:solidFill>
                <a:latin typeface="+mn-lt"/>
              </a:rPr>
              <a:t>We pay respect to Elders past, present and emerging.</a:t>
            </a:r>
            <a:endParaRPr lang="en-US" sz="850" spc="0" baseline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79" y="3573016"/>
            <a:ext cx="1080141" cy="525894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0"/>
            <a:ext cx="33124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AU" sz="140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482" y="6138000"/>
            <a:ext cx="1697925" cy="3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3156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7161902" y="0"/>
            <a:ext cx="5040656" cy="6858000"/>
          </a:xfrm>
          <a:prstGeom prst="rect">
            <a:avLst/>
          </a:prstGeom>
          <a:solidFill>
            <a:schemeClr val="tx1"/>
          </a:solidFill>
        </p:spPr>
        <p:txBody>
          <a:bodyPr anchor="ctr" anchorCtr="0"/>
          <a:lstStyle>
            <a:lvl1pPr algn="ctr"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48503D0-434F-46A6-A0D7-FCA9933AA8F5}"/>
              </a:ext>
            </a:extLst>
          </p:cNvPr>
          <p:cNvSpPr txBox="1"/>
          <p:nvPr userDrawn="1"/>
        </p:nvSpPr>
        <p:spPr>
          <a:xfrm>
            <a:off x="626014" y="2204865"/>
            <a:ext cx="3528851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AU" sz="5000" b="0" kern="1200" spc="-130" baseline="0">
                <a:solidFill>
                  <a:schemeClr val="bg1"/>
                </a:solidFill>
                <a:latin typeface="+mj-lt"/>
                <a:ea typeface="Roboto" panose="02000000000000000000" pitchFamily="2" charset="0"/>
                <a:cs typeface="+mj-cs"/>
              </a:rPr>
              <a:t>Thank you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6BBE670-6D61-45DD-A74D-B7DD1D4D24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80" y="3356992"/>
            <a:ext cx="5307704" cy="290122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/>
              <a:t>[Author]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8B9A825-08CC-44BC-A4A3-FE28D463CE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80" y="3667600"/>
            <a:ext cx="5307701" cy="265457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b="0"/>
              <a:t>[Role]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FB85B51-C2F4-4233-958A-E666DC0FE9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5681" y="3953542"/>
            <a:ext cx="2521153" cy="36821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email@auspost.com.au</a:t>
            </a:r>
            <a:endParaRPr lang="en-AU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-1"/>
          <a:stretch/>
        </p:blipFill>
        <p:spPr>
          <a:xfrm>
            <a:off x="626481" y="6138000"/>
            <a:ext cx="1724625" cy="3672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1833975" y="4770433"/>
            <a:ext cx="4838958" cy="3847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2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en-US" sz="850" spc="0">
                <a:solidFill>
                  <a:schemeClr val="bg1"/>
                </a:solidFill>
                <a:latin typeface="+mn-lt"/>
              </a:rPr>
              <a:t>Australia Post acknowledges the Traditional Custodians of the land on which we operate, live</a:t>
            </a:r>
            <a:br>
              <a:rPr lang="en-US" sz="850" spc="0">
                <a:solidFill>
                  <a:schemeClr val="bg1"/>
                </a:solidFill>
                <a:latin typeface="+mn-lt"/>
              </a:rPr>
            </a:br>
            <a:r>
              <a:rPr lang="en-US" sz="850" spc="0">
                <a:solidFill>
                  <a:schemeClr val="bg1"/>
                </a:solidFill>
                <a:latin typeface="+mn-lt"/>
              </a:rPr>
              <a:t>and gather as a team. We </a:t>
            </a:r>
            <a:r>
              <a:rPr lang="en-US" sz="850" spc="0" err="1">
                <a:solidFill>
                  <a:schemeClr val="bg1"/>
                </a:solidFill>
                <a:latin typeface="+mn-lt"/>
              </a:rPr>
              <a:t>recognise</a:t>
            </a:r>
            <a:r>
              <a:rPr lang="en-US" sz="850" spc="0">
                <a:solidFill>
                  <a:schemeClr val="bg1"/>
                </a:solidFill>
                <a:latin typeface="+mn-lt"/>
              </a:rPr>
              <a:t> their continuing connection to land, water and community.</a:t>
            </a:r>
            <a:br>
              <a:rPr lang="en-US" sz="850" spc="0">
                <a:solidFill>
                  <a:schemeClr val="bg1"/>
                </a:solidFill>
                <a:latin typeface="+mn-lt"/>
              </a:rPr>
            </a:br>
            <a:r>
              <a:rPr lang="en-US" sz="850" spc="0">
                <a:solidFill>
                  <a:schemeClr val="bg1"/>
                </a:solidFill>
                <a:latin typeface="+mn-lt"/>
              </a:rPr>
              <a:t>We pay respect to Elders past, present and emerging.</a:t>
            </a:r>
            <a:endParaRPr lang="en-US" sz="850" spc="0" baseline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79" y="4725144"/>
            <a:ext cx="1080141" cy="525894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0"/>
            <a:ext cx="33124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AU" sz="1400"/>
          </a:p>
        </p:txBody>
      </p:sp>
    </p:spTree>
    <p:extLst>
      <p:ext uri="{BB962C8B-B14F-4D97-AF65-F5344CB8AC3E}">
        <p14:creationId xmlns:p14="http://schemas.microsoft.com/office/powerpoint/2010/main" val="12233112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 THANK YOU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7161902" y="0"/>
            <a:ext cx="5040656" cy="6858000"/>
          </a:xfrm>
          <a:prstGeom prst="rect">
            <a:avLst/>
          </a:prstGeom>
          <a:solidFill>
            <a:schemeClr val="tx1"/>
          </a:solidFill>
        </p:spPr>
        <p:txBody>
          <a:bodyPr anchor="ctr" anchorCtr="0"/>
          <a:lstStyle>
            <a:lvl1pPr algn="ctr">
              <a:defRPr sz="1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48503D0-434F-46A6-A0D7-FCA9933AA8F5}"/>
              </a:ext>
            </a:extLst>
          </p:cNvPr>
          <p:cNvSpPr txBox="1"/>
          <p:nvPr userDrawn="1"/>
        </p:nvSpPr>
        <p:spPr>
          <a:xfrm>
            <a:off x="626014" y="2204865"/>
            <a:ext cx="3528851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AU" sz="5000" b="0" kern="1200" spc="-130" baseline="0">
                <a:solidFill>
                  <a:schemeClr val="bg1"/>
                </a:solidFill>
                <a:latin typeface="+mj-lt"/>
                <a:ea typeface="Roboto" panose="02000000000000000000" pitchFamily="2" charset="0"/>
                <a:cs typeface="+mj-cs"/>
              </a:rPr>
              <a:t>Thank you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6BBE670-6D61-45DD-A74D-B7DD1D4D24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80" y="3356992"/>
            <a:ext cx="5307704" cy="290122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/>
              <a:t>[Author]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8B9A825-08CC-44BC-A4A3-FE28D463CE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80" y="3667600"/>
            <a:ext cx="5307701" cy="265457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b="0"/>
              <a:t>[Role]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FB85B51-C2F4-4233-958A-E666DC0FE9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5681" y="3953542"/>
            <a:ext cx="2521153" cy="36821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email@auspost.com.au</a:t>
            </a:r>
            <a:endParaRPr lang="en-AU"/>
          </a:p>
        </p:txBody>
      </p:sp>
      <p:sp>
        <p:nvSpPr>
          <p:cNvPr id="3" name="TextBox 2"/>
          <p:cNvSpPr txBox="1"/>
          <p:nvPr userDrawn="1"/>
        </p:nvSpPr>
        <p:spPr>
          <a:xfrm>
            <a:off x="1833975" y="4770433"/>
            <a:ext cx="4838958" cy="3847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02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lang="en-US" sz="850" spc="0">
                <a:solidFill>
                  <a:schemeClr val="bg1"/>
                </a:solidFill>
                <a:latin typeface="+mn-lt"/>
              </a:rPr>
              <a:t>Australia Post acknowledges the Traditional Custodians of the land on which we operate, live</a:t>
            </a:r>
            <a:br>
              <a:rPr lang="en-US" sz="850" spc="0">
                <a:solidFill>
                  <a:schemeClr val="bg1"/>
                </a:solidFill>
                <a:latin typeface="+mn-lt"/>
              </a:rPr>
            </a:br>
            <a:r>
              <a:rPr lang="en-US" sz="850" spc="0">
                <a:solidFill>
                  <a:schemeClr val="bg1"/>
                </a:solidFill>
                <a:latin typeface="+mn-lt"/>
              </a:rPr>
              <a:t>and gather as a team. We </a:t>
            </a:r>
            <a:r>
              <a:rPr lang="en-US" sz="850" spc="0" err="1">
                <a:solidFill>
                  <a:schemeClr val="bg1"/>
                </a:solidFill>
                <a:latin typeface="+mn-lt"/>
              </a:rPr>
              <a:t>recognise</a:t>
            </a:r>
            <a:r>
              <a:rPr lang="en-US" sz="850" spc="0">
                <a:solidFill>
                  <a:schemeClr val="bg1"/>
                </a:solidFill>
                <a:latin typeface="+mn-lt"/>
              </a:rPr>
              <a:t> their continuing connection to land, water and community.</a:t>
            </a:r>
            <a:br>
              <a:rPr lang="en-US" sz="850" spc="0">
                <a:solidFill>
                  <a:schemeClr val="bg1"/>
                </a:solidFill>
                <a:latin typeface="+mn-lt"/>
              </a:rPr>
            </a:br>
            <a:r>
              <a:rPr lang="en-US" sz="850" spc="0">
                <a:solidFill>
                  <a:schemeClr val="bg1"/>
                </a:solidFill>
                <a:latin typeface="+mn-lt"/>
              </a:rPr>
              <a:t>We pay respect to Elders past, present and emerging.</a:t>
            </a:r>
            <a:endParaRPr lang="en-US" sz="850" spc="0" baseline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79" y="4725144"/>
            <a:ext cx="1080141" cy="525894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0"/>
            <a:ext cx="33124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AU" sz="140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482" y="6138000"/>
            <a:ext cx="1697925" cy="3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4961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" y="11"/>
            <a:ext cx="12199235" cy="6855408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10501"/>
            <a:ext cx="12199234" cy="6844917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07334" y="446692"/>
            <a:ext cx="5100441" cy="616323"/>
          </a:xfrm>
        </p:spPr>
        <p:txBody>
          <a:bodyPr lIns="0" tIns="0" rIns="0" bIns="0"/>
          <a:lstStyle>
            <a:lvl1pPr>
              <a:defRPr sz="4005" b="1" i="0">
                <a:solidFill>
                  <a:schemeClr val="bg1"/>
                </a:solidFill>
                <a:latin typeface="AP Type Pro Display Bold"/>
                <a:cs typeface="AP Type Pro Display 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22" b="0" i="0">
                <a:solidFill>
                  <a:schemeClr val="tx1"/>
                </a:solidFill>
                <a:latin typeface="AP Type Pro Display Regular"/>
                <a:cs typeface="AP Type Pro Display Regular"/>
              </a:defRPr>
            </a:lvl1pPr>
          </a:lstStyle>
          <a:p>
            <a:pPr marL="13042">
              <a:spcBef>
                <a:spcPts val="252"/>
              </a:spcBef>
            </a:pPr>
            <a:r>
              <a:rPr lang="en-AU"/>
              <a:t>Inside</a:t>
            </a:r>
            <a:r>
              <a:rPr lang="en-AU" spc="-21"/>
              <a:t> </a:t>
            </a:r>
            <a:r>
              <a:rPr lang="en-AU" spc="-10"/>
              <a:t>Australian</a:t>
            </a:r>
            <a:r>
              <a:rPr lang="en-AU"/>
              <a:t> Online</a:t>
            </a:r>
            <a:r>
              <a:rPr lang="en-AU" spc="5"/>
              <a:t> </a:t>
            </a:r>
            <a:r>
              <a:rPr lang="en-AU"/>
              <a:t>Shopping</a:t>
            </a:r>
            <a:r>
              <a:rPr lang="en-AU" spc="288"/>
              <a:t> </a:t>
            </a:r>
            <a:r>
              <a:rPr lang="en-AU">
                <a:solidFill>
                  <a:srgbClr val="DC1928"/>
                </a:solidFill>
              </a:rPr>
              <a:t>|</a:t>
            </a:r>
            <a:r>
              <a:rPr lang="en-AU" spc="267">
                <a:solidFill>
                  <a:srgbClr val="DC1928"/>
                </a:solidFill>
              </a:rPr>
              <a:t> </a:t>
            </a:r>
            <a:r>
              <a:rPr lang="en-AU" spc="-10"/>
              <a:t>Australia</a:t>
            </a:r>
            <a:r>
              <a:rPr lang="en-AU"/>
              <a:t> Post</a:t>
            </a:r>
            <a:r>
              <a:rPr lang="en-AU" spc="288"/>
              <a:t> </a:t>
            </a:r>
            <a:r>
              <a:rPr lang="en-AU">
                <a:solidFill>
                  <a:srgbClr val="DC1928"/>
                </a:solidFill>
              </a:rPr>
              <a:t>|</a:t>
            </a:r>
            <a:r>
              <a:rPr lang="en-AU" spc="293">
                <a:solidFill>
                  <a:srgbClr val="DC1928"/>
                </a:solidFill>
              </a:rPr>
              <a:t> </a:t>
            </a:r>
            <a:r>
              <a:rPr lang="en-AU" spc="-21"/>
              <a:t>2024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6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27" b="1" i="0">
                <a:solidFill>
                  <a:schemeClr val="tx1"/>
                </a:solidFill>
                <a:latin typeface="AP Type Pro Display Bold"/>
                <a:cs typeface="AP Type Pro Display Bold"/>
              </a:defRPr>
            </a:lvl1pPr>
          </a:lstStyle>
          <a:p>
            <a:pPr marL="39123">
              <a:spcBef>
                <a:spcPts val="293"/>
              </a:spcBef>
            </a:pPr>
            <a:fld id="{81D60167-4931-47E6-BA6A-407CBD079E47}" type="slidenum">
              <a:rPr lang="en-AU" spc="-26" smtClean="0"/>
              <a:pPr marL="39123">
                <a:spcBef>
                  <a:spcPts val="293"/>
                </a:spcBef>
              </a:pPr>
              <a:t>‹#›</a:t>
            </a:fld>
            <a:endParaRPr lang="en-AU" spc="-26"/>
          </a:p>
        </p:txBody>
      </p:sp>
    </p:spTree>
    <p:extLst>
      <p:ext uri="{BB962C8B-B14F-4D97-AF65-F5344CB8AC3E}">
        <p14:creationId xmlns:p14="http://schemas.microsoft.com/office/powerpoint/2010/main" val="274968450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07334" y="446692"/>
            <a:ext cx="5100441" cy="616323"/>
          </a:xfrm>
        </p:spPr>
        <p:txBody>
          <a:bodyPr lIns="0" tIns="0" rIns="0" bIns="0"/>
          <a:lstStyle>
            <a:lvl1pPr>
              <a:defRPr sz="4005" b="1" i="0">
                <a:solidFill>
                  <a:schemeClr val="bg1"/>
                </a:solidFill>
                <a:latin typeface="AP Type Pro Display Bold"/>
                <a:cs typeface="AP Type Pro Display 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22" b="0" i="0">
                <a:solidFill>
                  <a:schemeClr val="tx1"/>
                </a:solidFill>
                <a:latin typeface="AP Type Pro Display Regular"/>
                <a:cs typeface="AP Type Pro Display Regular"/>
              </a:defRPr>
            </a:lvl1pPr>
          </a:lstStyle>
          <a:p>
            <a:pPr marL="13042">
              <a:spcBef>
                <a:spcPts val="252"/>
              </a:spcBef>
            </a:pPr>
            <a:r>
              <a:rPr lang="en-AU"/>
              <a:t>Inside</a:t>
            </a:r>
            <a:r>
              <a:rPr lang="en-AU" spc="-21"/>
              <a:t> </a:t>
            </a:r>
            <a:r>
              <a:rPr lang="en-AU" spc="-10"/>
              <a:t>Australian</a:t>
            </a:r>
            <a:r>
              <a:rPr lang="en-AU"/>
              <a:t> Online</a:t>
            </a:r>
            <a:r>
              <a:rPr lang="en-AU" spc="5"/>
              <a:t> </a:t>
            </a:r>
            <a:r>
              <a:rPr lang="en-AU"/>
              <a:t>Shopping</a:t>
            </a:r>
            <a:r>
              <a:rPr lang="en-AU" spc="288"/>
              <a:t> </a:t>
            </a:r>
            <a:r>
              <a:rPr lang="en-AU">
                <a:solidFill>
                  <a:srgbClr val="DC1928"/>
                </a:solidFill>
              </a:rPr>
              <a:t>|</a:t>
            </a:r>
            <a:r>
              <a:rPr lang="en-AU" spc="267">
                <a:solidFill>
                  <a:srgbClr val="DC1928"/>
                </a:solidFill>
              </a:rPr>
              <a:t> </a:t>
            </a:r>
            <a:r>
              <a:rPr lang="en-AU" spc="-10"/>
              <a:t>Australia</a:t>
            </a:r>
            <a:r>
              <a:rPr lang="en-AU"/>
              <a:t> Post</a:t>
            </a:r>
            <a:r>
              <a:rPr lang="en-AU" spc="288"/>
              <a:t> </a:t>
            </a:r>
            <a:r>
              <a:rPr lang="en-AU">
                <a:solidFill>
                  <a:srgbClr val="DC1928"/>
                </a:solidFill>
              </a:rPr>
              <a:t>|</a:t>
            </a:r>
            <a:r>
              <a:rPr lang="en-AU" spc="293">
                <a:solidFill>
                  <a:srgbClr val="DC1928"/>
                </a:solidFill>
              </a:rPr>
              <a:t> </a:t>
            </a:r>
            <a:r>
              <a:rPr lang="en-AU" spc="-21"/>
              <a:t>2024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6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27" b="1" i="0">
                <a:solidFill>
                  <a:schemeClr val="tx1"/>
                </a:solidFill>
                <a:latin typeface="AP Type Pro Display Bold"/>
                <a:cs typeface="AP Type Pro Display Bold"/>
              </a:defRPr>
            </a:lvl1pPr>
          </a:lstStyle>
          <a:p>
            <a:pPr marL="39123">
              <a:spcBef>
                <a:spcPts val="293"/>
              </a:spcBef>
            </a:pPr>
            <a:fld id="{81D60167-4931-47E6-BA6A-407CBD079E47}" type="slidenum">
              <a:rPr lang="en-AU" spc="-26" smtClean="0"/>
              <a:pPr marL="39123">
                <a:spcBef>
                  <a:spcPts val="293"/>
                </a:spcBef>
              </a:pPr>
              <a:t>‹#›</a:t>
            </a:fld>
            <a:endParaRPr lang="en-AU" spc="-26"/>
          </a:p>
        </p:txBody>
      </p:sp>
    </p:spTree>
    <p:extLst>
      <p:ext uri="{BB962C8B-B14F-4D97-AF65-F5344CB8AC3E}">
        <p14:creationId xmlns:p14="http://schemas.microsoft.com/office/powerpoint/2010/main" val="26448107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 TITLE SLIDE 4">
    <p:bg>
      <p:bgPr>
        <a:solidFill>
          <a:srgbClr val="D3D3D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3BE6238-BC49-4A19-8543-DD53C812780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9145192" cy="6858000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F27D51EE-B754-4E80-9DD0-A43B06A3100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80" y="1484784"/>
            <a:ext cx="5307704" cy="1446062"/>
          </a:xfrm>
        </p:spPr>
        <p:txBody>
          <a:bodyPr anchor="b" anchorCtr="0">
            <a:no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GB" sz="4000" b="0" kern="1200" dirty="0">
                <a:solidFill>
                  <a:schemeClr val="tx1"/>
                </a:solidFill>
                <a:latin typeface="+mj-lt"/>
                <a:ea typeface="Roboto" panose="02000000000000000000" pitchFamily="2" charset="0"/>
                <a:cs typeface="+mj-cs"/>
              </a:defRPr>
            </a:lvl1pPr>
          </a:lstStyle>
          <a:p>
            <a:r>
              <a:rPr lang="en-US"/>
              <a:t>[Presentation title</a:t>
            </a:r>
            <a:br>
              <a:rPr lang="en-US"/>
            </a:br>
            <a:r>
              <a:rPr lang="en-US"/>
              <a:t>over two lines]</a:t>
            </a:r>
            <a:endParaRPr lang="en-GB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B4094AB7-FD5C-498A-AFED-7CD34182C4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80" y="3745995"/>
            <a:ext cx="5307704" cy="290122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/>
              <a:t>[Author]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2C8A0424-3C34-4783-B0F4-DA830E69A9B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79" y="478801"/>
            <a:ext cx="2779499" cy="206101"/>
          </a:xfrm>
        </p:spPr>
        <p:txBody>
          <a:bodyPr/>
          <a:lstStyle>
            <a:lvl1pPr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[Date]</a:t>
            </a:r>
            <a:endParaRPr lang="en-AU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D46268B-8EFD-44F5-AFFC-783269A3DA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80" y="4056603"/>
            <a:ext cx="5307701" cy="26545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b="0"/>
              <a:t>[Business Unit Team]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30BFC40B-3252-44D5-B79C-40B9046F8C9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80" y="2988356"/>
            <a:ext cx="5307704" cy="409066"/>
          </a:xfrm>
        </p:spPr>
        <p:txBody>
          <a:bodyPr/>
          <a:lstStyle>
            <a:lvl1pPr>
              <a:defRPr sz="25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/>
              <a:t>[Presentation subtitle]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482" y="6138000"/>
            <a:ext cx="1697925" cy="3672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0"/>
            <a:ext cx="33124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AU" sz="1400"/>
          </a:p>
        </p:txBody>
      </p:sp>
    </p:spTree>
    <p:extLst>
      <p:ext uri="{BB962C8B-B14F-4D97-AF65-F5344CB8AC3E}">
        <p14:creationId xmlns:p14="http://schemas.microsoft.com/office/powerpoint/2010/main" val="26989859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bg>
      <p:bgPr>
        <a:solidFill>
          <a:srgbClr val="A212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clipart&#10;&#10;Description automatically generated">
            <a:extLst>
              <a:ext uri="{FF2B5EF4-FFF2-40B4-BE49-F238E27FC236}">
                <a16:creationId xmlns:a16="http://schemas.microsoft.com/office/drawing/2014/main" id="{17E6B1CC-93CC-4885-AE67-A84570B96B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0735" y="0"/>
            <a:ext cx="9145191" cy="6858000"/>
          </a:xfrm>
          <a:prstGeom prst="rect">
            <a:avLst/>
          </a:prstGeom>
          <a:noFill/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10ADD7D-50E7-4C57-894C-02A8D94C559B}"/>
              </a:ext>
            </a:extLst>
          </p:cNvPr>
          <p:cNvCxnSpPr/>
          <p:nvPr/>
        </p:nvCxnSpPr>
        <p:spPr>
          <a:xfrm>
            <a:off x="335404" y="457201"/>
            <a:ext cx="0" cy="6048903"/>
          </a:xfrm>
          <a:prstGeom prst="line">
            <a:avLst/>
          </a:prstGeom>
          <a:ln w="12700" cap="sq">
            <a:solidFill>
              <a:srgbClr val="DC19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1" name="Subtitle 2">
            <a:extLst>
              <a:ext uri="{FF2B5EF4-FFF2-40B4-BE49-F238E27FC236}">
                <a16:creationId xmlns:a16="http://schemas.microsoft.com/office/drawing/2014/main" id="{B4094AB7-FD5C-498A-AFED-7CD34182C4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80" y="3861048"/>
            <a:ext cx="5307704" cy="290122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0">
                <a:solidFill>
                  <a:srgbClr val="FFFFFF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r>
              <a:rPr lang="en-US"/>
              <a:t>[Author]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2C8A0424-3C34-4783-B0F4-DA830E69A9B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79" y="478801"/>
            <a:ext cx="2779499" cy="206101"/>
          </a:xfrm>
        </p:spPr>
        <p:txBody>
          <a:bodyPr/>
          <a:lstStyle>
            <a:lvl1pPr>
              <a:defRPr sz="1200" b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[Date]</a:t>
            </a:r>
            <a:endParaRPr lang="en-AU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D46268B-8EFD-44F5-AFFC-783269A3DA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80" y="4171656"/>
            <a:ext cx="5307701" cy="265457"/>
          </a:xfrm>
        </p:spPr>
        <p:txBody>
          <a:bodyPr/>
          <a:lstStyle>
            <a:lvl1pPr>
              <a:defRPr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 b="0"/>
              <a:t>[Business Unit Team]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F0D15BF-170B-46C8-BCC9-B692A5AE5CFD}"/>
              </a:ext>
            </a:extLst>
          </p:cNvPr>
          <p:cNvCxnSpPr/>
          <p:nvPr userDrawn="1"/>
        </p:nvCxnSpPr>
        <p:spPr>
          <a:xfrm>
            <a:off x="335404" y="457201"/>
            <a:ext cx="0" cy="6048903"/>
          </a:xfrm>
          <a:prstGeom prst="line">
            <a:avLst/>
          </a:prstGeom>
          <a:ln w="12700" cap="sq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ED691C02-E64A-49FB-A98F-08B5BE3F78A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80" y="1599837"/>
            <a:ext cx="5307704" cy="1446062"/>
          </a:xfrm>
        </p:spPr>
        <p:txBody>
          <a:bodyPr anchor="b" anchorCtr="0">
            <a:no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GB" sz="4000" b="0" kern="1200" dirty="0">
                <a:solidFill>
                  <a:srgbClr val="FFFFFF"/>
                </a:solidFill>
                <a:latin typeface="+mj-lt"/>
                <a:ea typeface="Roboto" panose="02000000000000000000" pitchFamily="2" charset="0"/>
                <a:cs typeface="+mj-cs"/>
              </a:defRPr>
            </a:lvl1pPr>
          </a:lstStyle>
          <a:p>
            <a:r>
              <a:rPr lang="en-US"/>
              <a:t>[Presentation title</a:t>
            </a:r>
            <a:br>
              <a:rPr lang="en-US"/>
            </a:br>
            <a:r>
              <a:rPr lang="en-US"/>
              <a:t>over two lines]</a:t>
            </a:r>
            <a:endParaRPr lang="en-GB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1C5FCF8F-F262-48B3-B69E-5129B0F807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80" y="3103409"/>
            <a:ext cx="5307704" cy="409066"/>
          </a:xfrm>
        </p:spPr>
        <p:txBody>
          <a:bodyPr/>
          <a:lstStyle>
            <a:lvl1pPr>
              <a:defRPr sz="25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/>
              <a:t>[Presentation subtitle]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481" y="6138000"/>
            <a:ext cx="1724625" cy="366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91347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09679" y="457200"/>
            <a:ext cx="4190792" cy="1008112"/>
          </a:xfrm>
        </p:spPr>
        <p:txBody>
          <a:bodyPr/>
          <a:lstStyle>
            <a:lvl1pPr>
              <a:defRPr lang="en-AU" sz="4000" b="0" kern="1200" dirty="0">
                <a:solidFill>
                  <a:schemeClr val="bg1"/>
                </a:solidFill>
                <a:latin typeface="+mj-lt"/>
                <a:ea typeface="Roboto" panose="02000000000000000000" pitchFamily="2" charset="0"/>
                <a:cs typeface="+mj-cs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0C04259-A94F-4AB1-88DF-074F44F4EE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79" y="1630800"/>
            <a:ext cx="4190792" cy="9144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05B9434D-0E46-4DB0-9F5C-9B93C03D65F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79" y="5229201"/>
            <a:ext cx="1670268" cy="1800225"/>
          </a:xfrm>
        </p:spPr>
        <p:txBody>
          <a:bodyPr anchor="b"/>
          <a:lstStyle>
            <a:lvl1pPr marL="0"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18000" b="0" kern="1200" dirty="0" smtClean="0">
                <a:solidFill>
                  <a:schemeClr val="bg1"/>
                </a:solidFill>
                <a:latin typeface="+mj-lt"/>
                <a:ea typeface="Roboto" panose="02000000000000000000" pitchFamily="2" charset="0"/>
                <a:cs typeface="+mj-cs"/>
              </a:defRPr>
            </a:lvl1pPr>
            <a:lvl2pPr marL="0" indent="0"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15000" b="0" kern="1200" dirty="0" smtClean="0">
                <a:solidFill>
                  <a:schemeClr val="bg1"/>
                </a:solidFill>
                <a:latin typeface="AP Type Display Medium" panose="020B0603030202060203" pitchFamily="34" charset="0"/>
                <a:ea typeface="Roboto" panose="02000000000000000000" pitchFamily="2" charset="0"/>
                <a:cs typeface="+mj-cs"/>
              </a:defRPr>
            </a:lvl2pPr>
            <a:lvl3pPr marL="0" indent="0"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15000" b="0" kern="1200" dirty="0" smtClean="0">
                <a:solidFill>
                  <a:schemeClr val="bg1"/>
                </a:solidFill>
                <a:latin typeface="AP Type Display Medium" panose="020B0603030202060203" pitchFamily="34" charset="0"/>
                <a:ea typeface="Roboto" panose="02000000000000000000" pitchFamily="2" charset="0"/>
                <a:cs typeface="+mj-cs"/>
              </a:defRPr>
            </a:lvl3pPr>
            <a:lvl4pPr marL="0" indent="0"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15000" b="0" kern="1200" dirty="0" smtClean="0">
                <a:solidFill>
                  <a:schemeClr val="bg1"/>
                </a:solidFill>
                <a:latin typeface="AP Type Display Medium" panose="020B0603030202060203" pitchFamily="34" charset="0"/>
                <a:ea typeface="Roboto" panose="02000000000000000000" pitchFamily="2" charset="0"/>
                <a:cs typeface="+mj-cs"/>
              </a:defRPr>
            </a:lvl4pPr>
          </a:lstStyle>
          <a:p>
            <a:pPr lvl="0"/>
            <a:r>
              <a:rPr lang="en-US"/>
              <a:t>1</a:t>
            </a:r>
            <a:endParaRPr lang="en-AU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56B905A-FE68-435D-9AC0-F0BFE1B62254}"/>
              </a:ext>
            </a:extLst>
          </p:cNvPr>
          <p:cNvCxnSpPr/>
          <p:nvPr userDrawn="1"/>
        </p:nvCxnSpPr>
        <p:spPr>
          <a:xfrm>
            <a:off x="335404" y="457201"/>
            <a:ext cx="0" cy="6048903"/>
          </a:xfrm>
          <a:prstGeom prst="line">
            <a:avLst/>
          </a:prstGeom>
          <a:ln w="127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2" name="Footer Placeholder 1"/>
          <p:cNvSpPr>
            <a:spLocks noGrp="1"/>
          </p:cNvSpPr>
          <p:nvPr>
            <p:ph type="ftr" sz="quarter" idx="17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/>
              <a:t>©            Australia Pos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E92D9D43-0D04-5E96-14C4-C08C856268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B6F6C149-55E8-44FD-8F59-107338CEB417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055247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GREY 1">
    <p:bg>
      <p:bgPr>
        <a:solidFill>
          <a:srgbClr val="D3D3D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09679" y="457200"/>
            <a:ext cx="4190792" cy="1008112"/>
          </a:xfrm>
        </p:spPr>
        <p:txBody>
          <a:bodyPr/>
          <a:lstStyle>
            <a:lvl1pPr>
              <a:defRPr lang="en-AU" sz="4000" b="0" kern="1200" dirty="0">
                <a:solidFill>
                  <a:schemeClr val="bg1"/>
                </a:solidFill>
                <a:latin typeface="+mj-lt"/>
                <a:ea typeface="Roboto" panose="02000000000000000000" pitchFamily="2" charset="0"/>
                <a:cs typeface="+mj-cs"/>
              </a:defRPr>
            </a:lvl1pPr>
          </a:lstStyle>
          <a:p>
            <a:r>
              <a:rPr lang="en-US"/>
              <a:t>[Section heading goes here]</a:t>
            </a:r>
            <a:endParaRPr lang="en-AU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0C04259-A94F-4AB1-88DF-074F44F4EE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79" y="1630800"/>
            <a:ext cx="4190792" cy="9144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[Sub headline goes here]</a:t>
            </a:r>
            <a:endParaRPr lang="en-AU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05B9434D-0E46-4DB0-9F5C-9B93C03D65F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79" y="5229201"/>
            <a:ext cx="1670268" cy="1800225"/>
          </a:xfrm>
        </p:spPr>
        <p:txBody>
          <a:bodyPr anchor="b"/>
          <a:lstStyle>
            <a:lvl1pPr marL="0"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18000" b="0" kern="1200" dirty="0" smtClean="0">
                <a:solidFill>
                  <a:schemeClr val="bg1"/>
                </a:solidFill>
                <a:latin typeface="+mj-lt"/>
                <a:ea typeface="Roboto" panose="02000000000000000000" pitchFamily="2" charset="0"/>
                <a:cs typeface="+mj-cs"/>
              </a:defRPr>
            </a:lvl1pPr>
            <a:lvl2pPr marL="0" indent="0"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15000" b="0" kern="1200" dirty="0" smtClean="0">
                <a:solidFill>
                  <a:schemeClr val="bg1"/>
                </a:solidFill>
                <a:latin typeface="AP Type Display Medium" panose="020B0603030202060203" pitchFamily="34" charset="0"/>
                <a:ea typeface="Roboto" panose="02000000000000000000" pitchFamily="2" charset="0"/>
                <a:cs typeface="+mj-cs"/>
              </a:defRPr>
            </a:lvl2pPr>
            <a:lvl3pPr marL="0" indent="0"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15000" b="0" kern="1200" dirty="0" smtClean="0">
                <a:solidFill>
                  <a:schemeClr val="bg1"/>
                </a:solidFill>
                <a:latin typeface="AP Type Display Medium" panose="020B0603030202060203" pitchFamily="34" charset="0"/>
                <a:ea typeface="Roboto" panose="02000000000000000000" pitchFamily="2" charset="0"/>
                <a:cs typeface="+mj-cs"/>
              </a:defRPr>
            </a:lvl3pPr>
            <a:lvl4pPr marL="0" indent="0"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15000" b="0" kern="1200" dirty="0" smtClean="0">
                <a:solidFill>
                  <a:schemeClr val="bg1"/>
                </a:solidFill>
                <a:latin typeface="AP Type Display Medium" panose="020B0603030202060203" pitchFamily="34" charset="0"/>
                <a:ea typeface="Roboto" panose="02000000000000000000" pitchFamily="2" charset="0"/>
                <a:cs typeface="+mj-cs"/>
              </a:defRPr>
            </a:lvl4pPr>
          </a:lstStyle>
          <a:p>
            <a:pPr lvl="0"/>
            <a:r>
              <a:rPr lang="en-US"/>
              <a:t>1</a:t>
            </a:r>
            <a:endParaRPr lang="en-AU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56B905A-FE68-435D-9AC0-F0BFE1B62254}"/>
              </a:ext>
            </a:extLst>
          </p:cNvPr>
          <p:cNvCxnSpPr/>
          <p:nvPr userDrawn="1"/>
        </p:nvCxnSpPr>
        <p:spPr>
          <a:xfrm>
            <a:off x="335404" y="457201"/>
            <a:ext cx="0" cy="6048903"/>
          </a:xfrm>
          <a:prstGeom prst="line">
            <a:avLst/>
          </a:prstGeom>
          <a:ln w="12700" cap="sq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2" name="Footer Placeholder 1"/>
          <p:cNvSpPr>
            <a:spLocks noGrp="1"/>
          </p:cNvSpPr>
          <p:nvPr>
            <p:ph type="ftr" sz="quarter" idx="17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/>
              <a:t>©            Australia Pos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A3B9DAE9-C26C-875E-1E68-5D7C59915B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D994E613-89F0-4FB4-AFB4-C1E11181872C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125884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BEAB226-FE73-033E-520B-F9A1A2A832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8"/>
            </p:custDataLst>
            <p:extLst>
              <p:ext uri="{D42A27DB-BD31-4B8C-83A1-F6EECF244321}">
                <p14:modId xmlns:p14="http://schemas.microsoft.com/office/powerpoint/2010/main" val="2265576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9" imgW="425" imgH="424" progId="TCLayout.ActiveDocument.1">
                  <p:embed/>
                </p:oleObj>
              </mc:Choice>
              <mc:Fallback>
                <p:oleObj name="think-cell Slide" r:id="rId59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BEAB226-FE73-033E-520B-F9A1A2A832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80" y="980728"/>
            <a:ext cx="10974229" cy="8480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[Slide heading]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>
          <a:xfrm>
            <a:off x="609680" y="2103439"/>
            <a:ext cx="10974229" cy="4073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75A3D853-2087-479E-8532-7C28B83B65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51852" y="6373351"/>
            <a:ext cx="432056" cy="214648"/>
          </a:xfrm>
          <a:prstGeom prst="rect">
            <a:avLst/>
          </a:prstGeom>
        </p:spPr>
        <p:txBody>
          <a:bodyPr rIns="0" bIns="0" anchor="b" anchorCtr="0"/>
          <a:lstStyle>
            <a:lvl1pPr algn="r">
              <a:defRPr sz="1100" b="0">
                <a:latin typeface="+mj-lt"/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5463CDD-24AF-47E0-8C34-9CE58D1267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901289" y="6371999"/>
            <a:ext cx="1188155" cy="216000"/>
          </a:xfrm>
          <a:prstGeom prst="rect">
            <a:avLst/>
          </a:prstGeom>
        </p:spPr>
        <p:txBody>
          <a:bodyPr lIns="0" rIns="0" bIns="0" anchor="b" anchorCtr="0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AU"/>
              <a:t>©            Australia Pos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6357D73-9961-DFC6-7D72-FB0D016D10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78525" y="6372000"/>
            <a:ext cx="288038" cy="216000"/>
          </a:xfrm>
          <a:prstGeom prst="rect">
            <a:avLst/>
          </a:prstGeom>
        </p:spPr>
        <p:txBody>
          <a:bodyPr vert="horz" lIns="0" tIns="4572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D405D44-F76D-4FF6-9227-F83F6CC58AE7}" type="datetimeyyyy">
              <a:rPr lang="en-AU" smtClean="0"/>
              <a:t>202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61660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  <p:sldLayoutId id="2147483682" r:id="rId16"/>
    <p:sldLayoutId id="2147483683" r:id="rId17"/>
    <p:sldLayoutId id="2147483684" r:id="rId18"/>
    <p:sldLayoutId id="2147483685" r:id="rId19"/>
    <p:sldLayoutId id="2147483686" r:id="rId20"/>
    <p:sldLayoutId id="2147483687" r:id="rId21"/>
    <p:sldLayoutId id="2147483688" r:id="rId22"/>
    <p:sldLayoutId id="2147483689" r:id="rId23"/>
    <p:sldLayoutId id="2147483690" r:id="rId24"/>
    <p:sldLayoutId id="2147483691" r:id="rId25"/>
    <p:sldLayoutId id="2147483692" r:id="rId26"/>
    <p:sldLayoutId id="2147483693" r:id="rId27"/>
    <p:sldLayoutId id="2147483694" r:id="rId28"/>
    <p:sldLayoutId id="2147483695" r:id="rId29"/>
    <p:sldLayoutId id="2147483696" r:id="rId30"/>
    <p:sldLayoutId id="2147483697" r:id="rId31"/>
    <p:sldLayoutId id="2147483698" r:id="rId32"/>
    <p:sldLayoutId id="2147483699" r:id="rId33"/>
    <p:sldLayoutId id="2147483700" r:id="rId34"/>
    <p:sldLayoutId id="2147483701" r:id="rId35"/>
    <p:sldLayoutId id="2147483702" r:id="rId36"/>
    <p:sldLayoutId id="2147483703" r:id="rId37"/>
    <p:sldLayoutId id="2147483704" r:id="rId38"/>
    <p:sldLayoutId id="2147483705" r:id="rId39"/>
    <p:sldLayoutId id="2147483706" r:id="rId40"/>
    <p:sldLayoutId id="2147483707" r:id="rId41"/>
    <p:sldLayoutId id="2147483708" r:id="rId42"/>
    <p:sldLayoutId id="2147483709" r:id="rId43"/>
    <p:sldLayoutId id="2147483710" r:id="rId44"/>
    <p:sldLayoutId id="2147483711" r:id="rId45"/>
    <p:sldLayoutId id="2147483712" r:id="rId46"/>
    <p:sldLayoutId id="2147483713" r:id="rId47"/>
    <p:sldLayoutId id="2147483714" r:id="rId48"/>
    <p:sldLayoutId id="2147483715" r:id="rId49"/>
    <p:sldLayoutId id="2147483716" r:id="rId50"/>
    <p:sldLayoutId id="2147483717" r:id="rId51"/>
    <p:sldLayoutId id="2147483718" r:id="rId52"/>
    <p:sldLayoutId id="2147483719" r:id="rId53"/>
    <p:sldLayoutId id="2147483720" r:id="rId54"/>
    <p:sldLayoutId id="2147483788" r:id="rId55"/>
    <p:sldLayoutId id="2147483789" r:id="rId56"/>
  </p:sldLayoutIdLst>
  <p:hf hdr="0"/>
  <p:txStyles>
    <p:titleStyle>
      <a:lvl1pPr algn="l" defTabSz="685800" rtl="0" eaLnBrk="1" latinLnBrk="0" hangingPunct="1">
        <a:lnSpc>
          <a:spcPct val="85000"/>
        </a:lnSpc>
        <a:spcBef>
          <a:spcPct val="0"/>
        </a:spcBef>
        <a:buNone/>
        <a:defRPr lang="en-GB" sz="5000" b="0" kern="1200" dirty="0">
          <a:solidFill>
            <a:schemeClr val="tx1"/>
          </a:solidFill>
          <a:latin typeface="+mj-lt"/>
          <a:ea typeface="Roboto" panose="02000000000000000000" pitchFamily="2" charset="0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n-lt"/>
          <a:ea typeface="Roboto" panose="02000000000000000000" pitchFamily="2" charset="0"/>
          <a:cs typeface="+mn-cs"/>
        </a:defRPr>
      </a:lvl1pPr>
      <a:lvl2pPr marL="18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Roboto" panose="02000000000000000000" pitchFamily="2" charset="0"/>
          <a:cs typeface="+mn-cs"/>
        </a:defRPr>
      </a:lvl2pPr>
      <a:lvl3pPr marL="3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Roboto" panose="02000000000000000000" pitchFamily="2" charset="0"/>
          <a:cs typeface="+mn-cs"/>
        </a:defRPr>
      </a:lvl3pPr>
      <a:lvl4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◦"/>
        <a:defRPr lang="en-US" sz="1400" kern="1200" dirty="0" smtClean="0">
          <a:solidFill>
            <a:schemeClr val="tx1"/>
          </a:solidFill>
          <a:latin typeface="+mn-lt"/>
          <a:ea typeface="Roboto" panose="02000000000000000000" pitchFamily="2" charset="0"/>
          <a:cs typeface="+mn-cs"/>
        </a:defRPr>
      </a:lvl4pPr>
      <a:lvl5pPr marL="72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›"/>
        <a:defRPr sz="1400" kern="1200">
          <a:solidFill>
            <a:schemeClr val="tx1"/>
          </a:solidFill>
          <a:latin typeface="+mn-lt"/>
          <a:ea typeface="Roboto" panose="02000000000000000000" pitchFamily="2" charset="0"/>
          <a:cs typeface="+mn-cs"/>
        </a:defRPr>
      </a:lvl5pPr>
      <a:lvl6pPr marL="18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+mj-lt"/>
        <a:buAutoNum type="arabicPeriod"/>
        <a:defRPr sz="1400" kern="1200">
          <a:solidFill>
            <a:schemeClr val="tx1"/>
          </a:solidFill>
          <a:latin typeface="AP Type Text" panose="020B0503030202060203" pitchFamily="34" charset="0"/>
          <a:ea typeface="Roboto" panose="02000000000000000000" pitchFamily="2" charset="0"/>
          <a:cs typeface="+mn-cs"/>
        </a:defRPr>
      </a:lvl6pPr>
      <a:lvl7pPr marL="36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+mj-lt"/>
        <a:buAutoNum type="alphaLcPeriod"/>
        <a:defRPr sz="1400" kern="1200">
          <a:solidFill>
            <a:schemeClr val="tx1"/>
          </a:solidFill>
          <a:latin typeface="AP Type Text" panose="020B0503030202060203" pitchFamily="34" charset="0"/>
          <a:ea typeface="Roboto" panose="02000000000000000000" pitchFamily="2" charset="0"/>
          <a:cs typeface="+mn-cs"/>
        </a:defRPr>
      </a:lvl7pPr>
      <a:lvl8pPr marL="540000" indent="-180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+mj-lt"/>
        <a:buAutoNum type="romanLcPeriod"/>
        <a:defRPr sz="1400" kern="1200">
          <a:solidFill>
            <a:schemeClr val="tx1"/>
          </a:solidFill>
          <a:latin typeface="AP Type Text" panose="020B0503030202060203" pitchFamily="34" charset="0"/>
          <a:ea typeface="Roboto" panose="02000000000000000000" pitchFamily="2" charset="0"/>
          <a:cs typeface="+mn-cs"/>
        </a:defRPr>
      </a:lvl8pPr>
      <a:lvl9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1800"/>
        </a:spcAft>
        <a:buFont typeface="Arial" panose="020B0604020202020204" pitchFamily="34" charset="0"/>
        <a:buNone/>
        <a:defRPr sz="1600" b="1" kern="1200">
          <a:solidFill>
            <a:srgbClr val="DC1928"/>
          </a:solidFill>
          <a:latin typeface="AP Type Text" panose="020B0503030202060203" pitchFamily="34" charset="0"/>
          <a:ea typeface="Roboto" panose="02000000000000000000" pitchFamily="2" charset="0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4" pos="3840">
          <p15:clr>
            <a:srgbClr val="F26B43"/>
          </p15:clr>
        </p15:guide>
        <p15:guide id="15" pos="384">
          <p15:clr>
            <a:srgbClr val="F26B43"/>
          </p15:clr>
        </p15:guide>
        <p15:guide id="16" pos="7296">
          <p15:clr>
            <a:srgbClr val="F26B43"/>
          </p15:clr>
        </p15:guide>
        <p15:guide id="17" pos="3953">
          <p15:clr>
            <a:srgbClr val="F26B43"/>
          </p15:clr>
        </p15:guide>
        <p15:guide id="18" pos="3727">
          <p15:clr>
            <a:srgbClr val="F26B43"/>
          </p15:clr>
        </p15:guide>
        <p15:guide id="19" orient="horz" pos="3888">
          <p15:clr>
            <a:srgbClr val="F26B43"/>
          </p15:clr>
        </p15:guide>
        <p15:guide id="20" pos="2765">
          <p15:clr>
            <a:srgbClr val="F26B43"/>
          </p15:clr>
        </p15:guide>
        <p15:guide id="21" pos="2535">
          <p15:clr>
            <a:srgbClr val="F26B43"/>
          </p15:clr>
        </p15:guide>
        <p15:guide id="22" pos="4915">
          <p15:clr>
            <a:srgbClr val="F26B43"/>
          </p15:clr>
        </p15:guide>
        <p15:guide id="23" pos="5145">
          <p15:clr>
            <a:srgbClr val="F26B43"/>
          </p15:clr>
        </p15:guide>
        <p15:guide id="24" orient="horz" pos="2160">
          <p15:clr>
            <a:srgbClr val="F26B43"/>
          </p15:clr>
        </p15:guide>
        <p15:guide id="25" orient="horz" pos="1325">
          <p15:clr>
            <a:srgbClr val="F26B43"/>
          </p15:clr>
        </p15:guide>
        <p15:guide id="26" orient="horz" pos="1152">
          <p15:clr>
            <a:srgbClr val="F26B43"/>
          </p15:clr>
        </p15:guide>
        <p15:guide id="27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3.jpe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file:////Users/yanyanteoh/Desktop/cover.jpg" TargetMode="External"/><Relationship Id="rId9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6.xml"/><Relationship Id="rId5" Type="http://schemas.openxmlformats.org/officeDocument/2006/relationships/chart" Target="../charts/chart1.xml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23.png"/><Relationship Id="rId5" Type="http://schemas.openxmlformats.org/officeDocument/2006/relationships/chart" Target="../charts/chart2.xml"/><Relationship Id="rId4" Type="http://schemas.openxmlformats.org/officeDocument/2006/relationships/image" Target="../media/image22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emf"/><Relationship Id="rId3" Type="http://schemas.openxmlformats.org/officeDocument/2006/relationships/chart" Target="../charts/chart3.xml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chart" Target="../charts/chart5.xml"/><Relationship Id="rId15" Type="http://schemas.openxmlformats.org/officeDocument/2006/relationships/chart" Target="../charts/chart6.xml"/><Relationship Id="rId10" Type="http://schemas.openxmlformats.org/officeDocument/2006/relationships/image" Target="../media/image28.png"/><Relationship Id="rId4" Type="http://schemas.openxmlformats.org/officeDocument/2006/relationships/chart" Target="../charts/chart4.xml"/><Relationship Id="rId9" Type="http://schemas.openxmlformats.org/officeDocument/2006/relationships/image" Target="../media/image27.png"/><Relationship Id="rId14" Type="http://schemas.openxmlformats.org/officeDocument/2006/relationships/image" Target="../media/image32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27.png"/><Relationship Id="rId11" Type="http://schemas.openxmlformats.org/officeDocument/2006/relationships/image" Target="../media/image32.emf"/><Relationship Id="rId5" Type="http://schemas.openxmlformats.org/officeDocument/2006/relationships/image" Target="../media/image26.png"/><Relationship Id="rId15" Type="http://schemas.openxmlformats.org/officeDocument/2006/relationships/image" Target="../media/image36.png"/><Relationship Id="rId10" Type="http://schemas.openxmlformats.org/officeDocument/2006/relationships/image" Target="../media/image31.emf"/><Relationship Id="rId4" Type="http://schemas.openxmlformats.org/officeDocument/2006/relationships/image" Target="../media/image25.png"/><Relationship Id="rId9" Type="http://schemas.openxmlformats.org/officeDocument/2006/relationships/image" Target="../media/image30.png"/><Relationship Id="rId14" Type="http://schemas.openxmlformats.org/officeDocument/2006/relationships/image" Target="../media/image3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jpe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openxmlformats.org/officeDocument/2006/relationships/image" Target="../media/image38.png"/><Relationship Id="rId9" Type="http://schemas.openxmlformats.org/officeDocument/2006/relationships/image" Target="../media/image4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79" y="1525740"/>
            <a:ext cx="6284605" cy="1039165"/>
          </a:xfrm>
        </p:spPr>
        <p:txBody>
          <a:bodyPr/>
          <a:lstStyle/>
          <a:p>
            <a:r>
              <a:rPr lang="en-US">
                <a:ea typeface="Roboto"/>
              </a:rPr>
              <a:t>The State of eCommerce 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>
                <a:ea typeface="Roboto"/>
              </a:rPr>
              <a:t>ARA CEO Forum</a:t>
            </a: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D9B407D-2F11-CF58-A8CB-11FC3DBC207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en-AU"/>
          </a:p>
        </p:txBody>
      </p:sp>
      <p:pic>
        <p:nvPicPr>
          <p:cNvPr id="5" name="Picture 4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3502FF36-153D-98BA-047D-70A334F2CE9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37" t="18276" r="7497" b="12338"/>
          <a:stretch/>
        </p:blipFill>
        <p:spPr>
          <a:xfrm>
            <a:off x="7060557" y="-1"/>
            <a:ext cx="5307704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6025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erson wearing a helmet&#10;&#10;Description automatically generated">
            <a:extLst>
              <a:ext uri="{FF2B5EF4-FFF2-40B4-BE49-F238E27FC236}">
                <a16:creationId xmlns:a16="http://schemas.microsoft.com/office/drawing/2014/main" id="{3EB2C758-5370-31A0-6638-15AF84C370B9}"/>
              </a:ext>
            </a:extLst>
          </p:cNvPr>
          <p:cNvPicPr>
            <a:picLocks noChangeAspect="1"/>
          </p:cNvPicPr>
          <p:nvPr/>
        </p:nvPicPr>
        <p:blipFill rotWithShape="1"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428" b="1480"/>
          <a:stretch>
            <a:fillRect/>
          </a:stretch>
        </p:blipFill>
        <p:spPr>
          <a:xfrm>
            <a:off x="0" y="0"/>
            <a:ext cx="12193588" cy="6858000"/>
          </a:xfrm>
          <a:prstGeom prst="rect">
            <a:avLst/>
          </a:prstGeom>
        </p:spPr>
      </p:pic>
      <p:sp>
        <p:nvSpPr>
          <p:cNvPr id="4" name="object 2">
            <a:extLst>
              <a:ext uri="{FF2B5EF4-FFF2-40B4-BE49-F238E27FC236}">
                <a16:creationId xmlns:a16="http://schemas.microsoft.com/office/drawing/2014/main" id="{2C09E3E6-C9A1-22DC-4B6D-2190C65CD5BA}"/>
              </a:ext>
            </a:extLst>
          </p:cNvPr>
          <p:cNvSpPr txBox="1">
            <a:spLocks/>
          </p:cNvSpPr>
          <p:nvPr/>
        </p:nvSpPr>
        <p:spPr>
          <a:xfrm>
            <a:off x="894292" y="594467"/>
            <a:ext cx="5978770" cy="3103699"/>
          </a:xfrm>
          <a:prstGeom prst="rect">
            <a:avLst/>
          </a:prstGeom>
        </p:spPr>
        <p:txBody>
          <a:bodyPr vert="horz" wrap="square" lIns="0" tIns="15650" rIns="0" bIns="0" rtlCol="0" anchor="t">
            <a:spAutoFit/>
          </a:bodyPr>
          <a:lstStyle>
            <a:lvl1pPr marL="13042">
              <a:lnSpc>
                <a:spcPts val="4108"/>
              </a:lnSpc>
              <a:defRPr sz="3697" b="0" i="0" spc="-26">
                <a:solidFill>
                  <a:srgbClr val="000000"/>
                </a:solidFill>
                <a:latin typeface="AP Type Pro Text Medium"/>
                <a:ea typeface="+mj-ea"/>
                <a:cs typeface="AP Type Pro Text Medium"/>
              </a:defRPr>
            </a:lvl1pPr>
          </a:lstStyle>
          <a:p>
            <a:pPr marL="12700">
              <a:lnSpc>
                <a:spcPct val="100000"/>
              </a:lnSpc>
            </a:pPr>
            <a:r>
              <a:rPr lang="en-AU" sz="4800">
                <a:solidFill>
                  <a:schemeClr val="bg1"/>
                </a:solidFill>
              </a:rPr>
              <a:t>2024 Inside Australian</a:t>
            </a:r>
          </a:p>
          <a:p>
            <a:pPr marL="12700">
              <a:lnSpc>
                <a:spcPct val="100000"/>
              </a:lnSpc>
            </a:pPr>
            <a:r>
              <a:rPr lang="en-AU" sz="4800">
                <a:solidFill>
                  <a:schemeClr val="bg1"/>
                </a:solidFill>
              </a:rPr>
              <a:t>Online Shopping</a:t>
            </a:r>
          </a:p>
          <a:p>
            <a:pPr marL="12700">
              <a:lnSpc>
                <a:spcPct val="289351"/>
              </a:lnSpc>
            </a:pPr>
            <a:r>
              <a:rPr lang="en-AU" sz="2400">
                <a:solidFill>
                  <a:schemeClr val="bg1"/>
                </a:solidFill>
              </a:rPr>
              <a:t>eCommerce industry report </a:t>
            </a: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DD004F35-CABD-202A-CFF6-E5D63DE596ED}"/>
              </a:ext>
            </a:extLst>
          </p:cNvPr>
          <p:cNvSpPr/>
          <p:nvPr/>
        </p:nvSpPr>
        <p:spPr>
          <a:xfrm>
            <a:off x="671932" y="572456"/>
            <a:ext cx="46948" cy="2424263"/>
          </a:xfrm>
          <a:custGeom>
            <a:avLst/>
            <a:gdLst/>
            <a:ahLst/>
            <a:cxnLst/>
            <a:rect l="l" t="t" r="r" b="b"/>
            <a:pathLst>
              <a:path h="1182370">
                <a:moveTo>
                  <a:pt x="0" y="0"/>
                </a:moveTo>
                <a:lnTo>
                  <a:pt x="0" y="118176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8A24556-1455-5AB8-6DD8-E6D66DD539E3}"/>
              </a:ext>
            </a:extLst>
          </p:cNvPr>
          <p:cNvGrpSpPr/>
          <p:nvPr/>
        </p:nvGrpSpPr>
        <p:grpSpPr>
          <a:xfrm>
            <a:off x="9254890" y="5215806"/>
            <a:ext cx="2944719" cy="1006134"/>
            <a:chOff x="9012704" y="5932798"/>
            <a:chExt cx="2867660" cy="979805"/>
          </a:xfrm>
        </p:grpSpPr>
        <p:sp>
          <p:nvSpPr>
            <p:cNvPr id="7" name="object 5">
              <a:extLst>
                <a:ext uri="{FF2B5EF4-FFF2-40B4-BE49-F238E27FC236}">
                  <a16:creationId xmlns:a16="http://schemas.microsoft.com/office/drawing/2014/main" id="{3FD8F643-3008-BDA5-39C2-ADCAB6EED01F}"/>
                </a:ext>
              </a:extLst>
            </p:cNvPr>
            <p:cNvSpPr/>
            <p:nvPr/>
          </p:nvSpPr>
          <p:spPr>
            <a:xfrm>
              <a:off x="9012704" y="5932798"/>
              <a:ext cx="2867660" cy="979805"/>
            </a:xfrm>
            <a:custGeom>
              <a:avLst/>
              <a:gdLst/>
              <a:ahLst/>
              <a:cxnLst/>
              <a:rect l="l" t="t" r="r" b="b"/>
              <a:pathLst>
                <a:path w="2867659" h="979804">
                  <a:moveTo>
                    <a:pt x="2867294" y="0"/>
                  </a:moveTo>
                  <a:lnTo>
                    <a:pt x="496049" y="0"/>
                  </a:lnTo>
                  <a:lnTo>
                    <a:pt x="447395" y="2343"/>
                  </a:lnTo>
                  <a:lnTo>
                    <a:pt x="399207" y="9321"/>
                  </a:lnTo>
                  <a:lnTo>
                    <a:pt x="351840" y="20976"/>
                  </a:lnTo>
                  <a:lnTo>
                    <a:pt x="305650" y="37287"/>
                  </a:lnTo>
                  <a:lnTo>
                    <a:pt x="261548" y="57927"/>
                  </a:lnTo>
                  <a:lnTo>
                    <a:pt x="219910" y="82628"/>
                  </a:lnTo>
                  <a:lnTo>
                    <a:pt x="181008" y="111171"/>
                  </a:lnTo>
                  <a:lnTo>
                    <a:pt x="145112" y="143334"/>
                  </a:lnTo>
                  <a:lnTo>
                    <a:pt x="112494" y="178897"/>
                  </a:lnTo>
                  <a:lnTo>
                    <a:pt x="83426" y="217639"/>
                  </a:lnTo>
                  <a:lnTo>
                    <a:pt x="58354" y="259027"/>
                  </a:lnTo>
                  <a:lnTo>
                    <a:pt x="37613" y="302439"/>
                  </a:lnTo>
                  <a:lnTo>
                    <a:pt x="21305" y="347541"/>
                  </a:lnTo>
                  <a:lnTo>
                    <a:pt x="9532" y="394003"/>
                  </a:lnTo>
                  <a:lnTo>
                    <a:pt x="2397" y="441491"/>
                  </a:lnTo>
                  <a:lnTo>
                    <a:pt x="0" y="489673"/>
                  </a:lnTo>
                  <a:lnTo>
                    <a:pt x="2389" y="537715"/>
                  </a:lnTo>
                  <a:lnTo>
                    <a:pt x="9512" y="585182"/>
                  </a:lnTo>
                  <a:lnTo>
                    <a:pt x="21302" y="631732"/>
                  </a:lnTo>
                  <a:lnTo>
                    <a:pt x="37693" y="677024"/>
                  </a:lnTo>
                  <a:lnTo>
                    <a:pt x="58496" y="720507"/>
                  </a:lnTo>
                  <a:lnTo>
                    <a:pt x="83454" y="761666"/>
                  </a:lnTo>
                  <a:lnTo>
                    <a:pt x="112370" y="800211"/>
                  </a:lnTo>
                  <a:lnTo>
                    <a:pt x="145046" y="835850"/>
                  </a:lnTo>
                  <a:lnTo>
                    <a:pt x="181100" y="868148"/>
                  </a:lnTo>
                  <a:lnTo>
                    <a:pt x="220087" y="896731"/>
                  </a:lnTo>
                  <a:lnTo>
                    <a:pt x="261718" y="921404"/>
                  </a:lnTo>
                  <a:lnTo>
                    <a:pt x="305701" y="941971"/>
                  </a:lnTo>
                  <a:lnTo>
                    <a:pt x="351514" y="958164"/>
                  </a:lnTo>
                  <a:lnTo>
                    <a:pt x="398599" y="969814"/>
                  </a:lnTo>
                  <a:lnTo>
                    <a:pt x="446612" y="976852"/>
                  </a:lnTo>
                  <a:lnTo>
                    <a:pt x="495211" y="979208"/>
                  </a:lnTo>
                  <a:lnTo>
                    <a:pt x="495769" y="979195"/>
                  </a:lnTo>
                  <a:lnTo>
                    <a:pt x="2867294" y="979195"/>
                  </a:lnTo>
                  <a:lnTo>
                    <a:pt x="2867294" y="0"/>
                  </a:lnTo>
                  <a:close/>
                </a:path>
                <a:path w="2867659" h="979804">
                  <a:moveTo>
                    <a:pt x="2867294" y="979195"/>
                  </a:moveTo>
                  <a:lnTo>
                    <a:pt x="496049" y="979195"/>
                  </a:lnTo>
                  <a:lnTo>
                    <a:pt x="2867294" y="979208"/>
                  </a:lnTo>
                  <a:close/>
                </a:path>
              </a:pathLst>
            </a:custGeom>
            <a:solidFill>
              <a:srgbClr val="DC192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6">
              <a:extLst>
                <a:ext uri="{FF2B5EF4-FFF2-40B4-BE49-F238E27FC236}">
                  <a16:creationId xmlns:a16="http://schemas.microsoft.com/office/drawing/2014/main" id="{9B1EC934-99EF-D8FB-A3A9-3E3BF8D83168}"/>
                </a:ext>
              </a:extLst>
            </p:cNvPr>
            <p:cNvSpPr/>
            <p:nvPr/>
          </p:nvSpPr>
          <p:spPr>
            <a:xfrm>
              <a:off x="9262034" y="6178219"/>
              <a:ext cx="492125" cy="486409"/>
            </a:xfrm>
            <a:custGeom>
              <a:avLst/>
              <a:gdLst/>
              <a:ahLst/>
              <a:cxnLst/>
              <a:rect l="l" t="t" r="r" b="b"/>
              <a:pathLst>
                <a:path w="492125" h="486409">
                  <a:moveTo>
                    <a:pt x="158775" y="15862"/>
                  </a:moveTo>
                  <a:lnTo>
                    <a:pt x="94272" y="51816"/>
                  </a:lnTo>
                  <a:lnTo>
                    <a:pt x="43535" y="105105"/>
                  </a:lnTo>
                  <a:lnTo>
                    <a:pt x="11125" y="170916"/>
                  </a:lnTo>
                  <a:lnTo>
                    <a:pt x="0" y="243281"/>
                  </a:lnTo>
                  <a:lnTo>
                    <a:pt x="2794" y="279996"/>
                  </a:lnTo>
                  <a:lnTo>
                    <a:pt x="24739" y="349707"/>
                  </a:lnTo>
                  <a:lnTo>
                    <a:pt x="66929" y="410133"/>
                  </a:lnTo>
                  <a:lnTo>
                    <a:pt x="125056" y="455155"/>
                  </a:lnTo>
                  <a:lnTo>
                    <a:pt x="158775" y="470763"/>
                  </a:lnTo>
                  <a:lnTo>
                    <a:pt x="158775" y="15862"/>
                  </a:lnTo>
                  <a:close/>
                </a:path>
                <a:path w="492125" h="486409">
                  <a:moveTo>
                    <a:pt x="491756" y="243103"/>
                  </a:moveTo>
                  <a:lnTo>
                    <a:pt x="486981" y="195453"/>
                  </a:lnTo>
                  <a:lnTo>
                    <a:pt x="473036" y="150063"/>
                  </a:lnTo>
                  <a:lnTo>
                    <a:pt x="450443" y="108216"/>
                  </a:lnTo>
                  <a:lnTo>
                    <a:pt x="419735" y="71196"/>
                  </a:lnTo>
                  <a:lnTo>
                    <a:pt x="382282" y="40843"/>
                  </a:lnTo>
                  <a:lnTo>
                    <a:pt x="339966" y="18503"/>
                  </a:lnTo>
                  <a:lnTo>
                    <a:pt x="294068" y="4711"/>
                  </a:lnTo>
                  <a:lnTo>
                    <a:pt x="245872" y="0"/>
                  </a:lnTo>
                  <a:lnTo>
                    <a:pt x="245872" y="254"/>
                  </a:lnTo>
                  <a:lnTo>
                    <a:pt x="232283" y="254"/>
                  </a:lnTo>
                  <a:lnTo>
                    <a:pt x="225653" y="965"/>
                  </a:lnTo>
                  <a:lnTo>
                    <a:pt x="225653" y="18059"/>
                  </a:lnTo>
                  <a:lnTo>
                    <a:pt x="226898" y="18059"/>
                  </a:lnTo>
                  <a:lnTo>
                    <a:pt x="271932" y="23977"/>
                  </a:lnTo>
                  <a:lnTo>
                    <a:pt x="312305" y="40055"/>
                  </a:lnTo>
                  <a:lnTo>
                    <a:pt x="346443" y="64795"/>
                  </a:lnTo>
                  <a:lnTo>
                    <a:pt x="372732" y="96672"/>
                  </a:lnTo>
                  <a:lnTo>
                    <a:pt x="389572" y="134200"/>
                  </a:lnTo>
                  <a:lnTo>
                    <a:pt x="395363" y="175882"/>
                  </a:lnTo>
                  <a:lnTo>
                    <a:pt x="389077" y="217424"/>
                  </a:lnTo>
                  <a:lnTo>
                    <a:pt x="371830" y="254622"/>
                  </a:lnTo>
                  <a:lnTo>
                    <a:pt x="345236" y="286016"/>
                  </a:lnTo>
                  <a:lnTo>
                    <a:pt x="310934" y="310210"/>
                  </a:lnTo>
                  <a:lnTo>
                    <a:pt x="270522" y="325742"/>
                  </a:lnTo>
                  <a:lnTo>
                    <a:pt x="225653" y="331203"/>
                  </a:lnTo>
                  <a:lnTo>
                    <a:pt x="225653" y="485432"/>
                  </a:lnTo>
                  <a:lnTo>
                    <a:pt x="232156" y="486003"/>
                  </a:lnTo>
                  <a:lnTo>
                    <a:pt x="245872" y="486194"/>
                  </a:lnTo>
                  <a:lnTo>
                    <a:pt x="294068" y="481469"/>
                  </a:lnTo>
                  <a:lnTo>
                    <a:pt x="339966" y="467677"/>
                  </a:lnTo>
                  <a:lnTo>
                    <a:pt x="382282" y="445350"/>
                  </a:lnTo>
                  <a:lnTo>
                    <a:pt x="419735" y="414997"/>
                  </a:lnTo>
                  <a:lnTo>
                    <a:pt x="450443" y="377964"/>
                  </a:lnTo>
                  <a:lnTo>
                    <a:pt x="473036" y="336118"/>
                  </a:lnTo>
                  <a:lnTo>
                    <a:pt x="486981" y="290741"/>
                  </a:lnTo>
                  <a:lnTo>
                    <a:pt x="491756" y="24310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" name="object 7">
              <a:extLst>
                <a:ext uri="{FF2B5EF4-FFF2-40B4-BE49-F238E27FC236}">
                  <a16:creationId xmlns:a16="http://schemas.microsoft.com/office/drawing/2014/main" id="{AD833D2E-4B7B-A8E7-4CF2-05F8B2FC2E5F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9851872" y="6324338"/>
              <a:ext cx="314967" cy="198337"/>
            </a:xfrm>
            <a:prstGeom prst="rect">
              <a:avLst/>
            </a:prstGeom>
          </p:spPr>
        </p:pic>
        <p:pic>
          <p:nvPicPr>
            <p:cNvPr id="10" name="object 8">
              <a:extLst>
                <a:ext uri="{FF2B5EF4-FFF2-40B4-BE49-F238E27FC236}">
                  <a16:creationId xmlns:a16="http://schemas.microsoft.com/office/drawing/2014/main" id="{AC22DAA0-D867-97FD-0AE8-81368E9A88DD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0189336" y="6324335"/>
              <a:ext cx="226435" cy="197984"/>
            </a:xfrm>
            <a:prstGeom prst="rect">
              <a:avLst/>
            </a:prstGeom>
          </p:spPr>
        </p:pic>
        <p:pic>
          <p:nvPicPr>
            <p:cNvPr id="11" name="object 9">
              <a:extLst>
                <a:ext uri="{FF2B5EF4-FFF2-40B4-BE49-F238E27FC236}">
                  <a16:creationId xmlns:a16="http://schemas.microsoft.com/office/drawing/2014/main" id="{F6C65D43-88A7-8B7A-D471-1E29176F98C1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0444124" y="6373117"/>
              <a:ext cx="217469" cy="148945"/>
            </a:xfrm>
            <a:prstGeom prst="rect">
              <a:avLst/>
            </a:prstGeom>
          </p:spPr>
        </p:pic>
        <p:pic>
          <p:nvPicPr>
            <p:cNvPr id="12" name="object 10">
              <a:extLst>
                <a:ext uri="{FF2B5EF4-FFF2-40B4-BE49-F238E27FC236}">
                  <a16:creationId xmlns:a16="http://schemas.microsoft.com/office/drawing/2014/main" id="{5555F9A4-6E5B-67C7-FFAD-F810C3D7D0D6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0688175" y="6312145"/>
              <a:ext cx="119207" cy="206650"/>
            </a:xfrm>
            <a:prstGeom prst="rect">
              <a:avLst/>
            </a:prstGeom>
          </p:spPr>
        </p:pic>
        <p:pic>
          <p:nvPicPr>
            <p:cNvPr id="13" name="object 11">
              <a:extLst>
                <a:ext uri="{FF2B5EF4-FFF2-40B4-BE49-F238E27FC236}">
                  <a16:creationId xmlns:a16="http://schemas.microsoft.com/office/drawing/2014/main" id="{FC716047-515F-B089-B748-B39FC96B286E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0827087" y="6373117"/>
              <a:ext cx="127063" cy="148945"/>
            </a:xfrm>
            <a:prstGeom prst="rect">
              <a:avLst/>
            </a:prstGeom>
          </p:spPr>
        </p:pic>
        <p:sp>
          <p:nvSpPr>
            <p:cNvPr id="14" name="object 12">
              <a:extLst>
                <a:ext uri="{FF2B5EF4-FFF2-40B4-BE49-F238E27FC236}">
                  <a16:creationId xmlns:a16="http://schemas.microsoft.com/office/drawing/2014/main" id="{A100ACDB-4B4F-A875-F650-2930BDD266B2}"/>
                </a:ext>
              </a:extLst>
            </p:cNvPr>
            <p:cNvSpPr/>
            <p:nvPr/>
          </p:nvSpPr>
          <p:spPr>
            <a:xfrm>
              <a:off x="11035322" y="6324346"/>
              <a:ext cx="541655" cy="198120"/>
            </a:xfrm>
            <a:custGeom>
              <a:avLst/>
              <a:gdLst/>
              <a:ahLst/>
              <a:cxnLst/>
              <a:rect l="l" t="t" r="r" b="b"/>
              <a:pathLst>
                <a:path w="541654" h="198120">
                  <a:moveTo>
                    <a:pt x="154571" y="62979"/>
                  </a:moveTo>
                  <a:lnTo>
                    <a:pt x="149707" y="36601"/>
                  </a:lnTo>
                  <a:lnTo>
                    <a:pt x="144183" y="28727"/>
                  </a:lnTo>
                  <a:lnTo>
                    <a:pt x="135813" y="16789"/>
                  </a:lnTo>
                  <a:lnTo>
                    <a:pt x="118300" y="6807"/>
                  </a:lnTo>
                  <a:lnTo>
                    <a:pt x="118300" y="62979"/>
                  </a:lnTo>
                  <a:lnTo>
                    <a:pt x="115570" y="79032"/>
                  </a:lnTo>
                  <a:lnTo>
                    <a:pt x="107708" y="89801"/>
                  </a:lnTo>
                  <a:lnTo>
                    <a:pt x="95237" y="95846"/>
                  </a:lnTo>
                  <a:lnTo>
                    <a:pt x="78651" y="97739"/>
                  </a:lnTo>
                  <a:lnTo>
                    <a:pt x="35687" y="97739"/>
                  </a:lnTo>
                  <a:lnTo>
                    <a:pt x="35687" y="28727"/>
                  </a:lnTo>
                  <a:lnTo>
                    <a:pt x="78651" y="28727"/>
                  </a:lnTo>
                  <a:lnTo>
                    <a:pt x="95237" y="30683"/>
                  </a:lnTo>
                  <a:lnTo>
                    <a:pt x="107708" y="36817"/>
                  </a:lnTo>
                  <a:lnTo>
                    <a:pt x="115570" y="47459"/>
                  </a:lnTo>
                  <a:lnTo>
                    <a:pt x="118300" y="62979"/>
                  </a:lnTo>
                  <a:lnTo>
                    <a:pt x="118300" y="6807"/>
                  </a:lnTo>
                  <a:lnTo>
                    <a:pt x="113982" y="4330"/>
                  </a:lnTo>
                  <a:lnTo>
                    <a:pt x="85280" y="0"/>
                  </a:lnTo>
                  <a:lnTo>
                    <a:pt x="0" y="0"/>
                  </a:lnTo>
                  <a:lnTo>
                    <a:pt x="0" y="194449"/>
                  </a:lnTo>
                  <a:lnTo>
                    <a:pt x="35687" y="194449"/>
                  </a:lnTo>
                  <a:lnTo>
                    <a:pt x="35687" y="126530"/>
                  </a:lnTo>
                  <a:lnTo>
                    <a:pt x="85280" y="126530"/>
                  </a:lnTo>
                  <a:lnTo>
                    <a:pt x="113868" y="122110"/>
                  </a:lnTo>
                  <a:lnTo>
                    <a:pt x="135712" y="109448"/>
                  </a:lnTo>
                  <a:lnTo>
                    <a:pt x="143878" y="97739"/>
                  </a:lnTo>
                  <a:lnTo>
                    <a:pt x="149669" y="89446"/>
                  </a:lnTo>
                  <a:lnTo>
                    <a:pt x="154571" y="62979"/>
                  </a:lnTo>
                  <a:close/>
                </a:path>
                <a:path w="541654" h="198120">
                  <a:moveTo>
                    <a:pt x="299961" y="123761"/>
                  </a:moveTo>
                  <a:lnTo>
                    <a:pt x="294982" y="93065"/>
                  </a:lnTo>
                  <a:lnTo>
                    <a:pt x="284670" y="75831"/>
                  </a:lnTo>
                  <a:lnTo>
                    <a:pt x="280924" y="69583"/>
                  </a:lnTo>
                  <a:lnTo>
                    <a:pt x="265645" y="59093"/>
                  </a:lnTo>
                  <a:lnTo>
                    <a:pt x="265645" y="118046"/>
                  </a:lnTo>
                  <a:lnTo>
                    <a:pt x="265645" y="129552"/>
                  </a:lnTo>
                  <a:lnTo>
                    <a:pt x="263220" y="147294"/>
                  </a:lnTo>
                  <a:lnTo>
                    <a:pt x="256286" y="160451"/>
                  </a:lnTo>
                  <a:lnTo>
                    <a:pt x="245300" y="168630"/>
                  </a:lnTo>
                  <a:lnTo>
                    <a:pt x="230746" y="171450"/>
                  </a:lnTo>
                  <a:lnTo>
                    <a:pt x="216192" y="168630"/>
                  </a:lnTo>
                  <a:lnTo>
                    <a:pt x="205193" y="160451"/>
                  </a:lnTo>
                  <a:lnTo>
                    <a:pt x="198247" y="147294"/>
                  </a:lnTo>
                  <a:lnTo>
                    <a:pt x="195834" y="129552"/>
                  </a:lnTo>
                  <a:lnTo>
                    <a:pt x="195834" y="118046"/>
                  </a:lnTo>
                  <a:lnTo>
                    <a:pt x="198247" y="100228"/>
                  </a:lnTo>
                  <a:lnTo>
                    <a:pt x="205193" y="86956"/>
                  </a:lnTo>
                  <a:lnTo>
                    <a:pt x="216192" y="78689"/>
                  </a:lnTo>
                  <a:lnTo>
                    <a:pt x="230746" y="75831"/>
                  </a:lnTo>
                  <a:lnTo>
                    <a:pt x="245300" y="78689"/>
                  </a:lnTo>
                  <a:lnTo>
                    <a:pt x="256286" y="86956"/>
                  </a:lnTo>
                  <a:lnTo>
                    <a:pt x="263220" y="100228"/>
                  </a:lnTo>
                  <a:lnTo>
                    <a:pt x="265645" y="118046"/>
                  </a:lnTo>
                  <a:lnTo>
                    <a:pt x="265645" y="59093"/>
                  </a:lnTo>
                  <a:lnTo>
                    <a:pt x="259080" y="54571"/>
                  </a:lnTo>
                  <a:lnTo>
                    <a:pt x="230746" y="49288"/>
                  </a:lnTo>
                  <a:lnTo>
                    <a:pt x="202361" y="54571"/>
                  </a:lnTo>
                  <a:lnTo>
                    <a:pt x="180428" y="69583"/>
                  </a:lnTo>
                  <a:lnTo>
                    <a:pt x="166281" y="93065"/>
                  </a:lnTo>
                  <a:lnTo>
                    <a:pt x="161264" y="123761"/>
                  </a:lnTo>
                  <a:lnTo>
                    <a:pt x="166281" y="154419"/>
                  </a:lnTo>
                  <a:lnTo>
                    <a:pt x="180428" y="177825"/>
                  </a:lnTo>
                  <a:lnTo>
                    <a:pt x="202361" y="192747"/>
                  </a:lnTo>
                  <a:lnTo>
                    <a:pt x="230746" y="197993"/>
                  </a:lnTo>
                  <a:lnTo>
                    <a:pt x="259080" y="192747"/>
                  </a:lnTo>
                  <a:lnTo>
                    <a:pt x="280924" y="177825"/>
                  </a:lnTo>
                  <a:lnTo>
                    <a:pt x="284759" y="171450"/>
                  </a:lnTo>
                  <a:lnTo>
                    <a:pt x="294982" y="154419"/>
                  </a:lnTo>
                  <a:lnTo>
                    <a:pt x="299961" y="123761"/>
                  </a:lnTo>
                  <a:close/>
                </a:path>
                <a:path w="541654" h="198120">
                  <a:moveTo>
                    <a:pt x="437108" y="150368"/>
                  </a:moveTo>
                  <a:lnTo>
                    <a:pt x="415848" y="114922"/>
                  </a:lnTo>
                  <a:lnTo>
                    <a:pt x="372300" y="107632"/>
                  </a:lnTo>
                  <a:lnTo>
                    <a:pt x="361911" y="105562"/>
                  </a:lnTo>
                  <a:lnTo>
                    <a:pt x="355282" y="102209"/>
                  </a:lnTo>
                  <a:lnTo>
                    <a:pt x="351764" y="97523"/>
                  </a:lnTo>
                  <a:lnTo>
                    <a:pt x="350723" y="91440"/>
                  </a:lnTo>
                  <a:lnTo>
                    <a:pt x="352602" y="84010"/>
                  </a:lnTo>
                  <a:lnTo>
                    <a:pt x="357860" y="78308"/>
                  </a:lnTo>
                  <a:lnTo>
                    <a:pt x="365912" y="74663"/>
                  </a:lnTo>
                  <a:lnTo>
                    <a:pt x="376199" y="73380"/>
                  </a:lnTo>
                  <a:lnTo>
                    <a:pt x="386168" y="74676"/>
                  </a:lnTo>
                  <a:lnTo>
                    <a:pt x="393649" y="78384"/>
                  </a:lnTo>
                  <a:lnTo>
                    <a:pt x="398627" y="84251"/>
                  </a:lnTo>
                  <a:lnTo>
                    <a:pt x="401091" y="92024"/>
                  </a:lnTo>
                  <a:lnTo>
                    <a:pt x="434111" y="92024"/>
                  </a:lnTo>
                  <a:lnTo>
                    <a:pt x="429691" y="76276"/>
                  </a:lnTo>
                  <a:lnTo>
                    <a:pt x="418795" y="62509"/>
                  </a:lnTo>
                  <a:lnTo>
                    <a:pt x="401142" y="52743"/>
                  </a:lnTo>
                  <a:lnTo>
                    <a:pt x="376466" y="49034"/>
                  </a:lnTo>
                  <a:lnTo>
                    <a:pt x="352005" y="52489"/>
                  </a:lnTo>
                  <a:lnTo>
                    <a:pt x="333324" y="62128"/>
                  </a:lnTo>
                  <a:lnTo>
                    <a:pt x="321386" y="76847"/>
                  </a:lnTo>
                  <a:lnTo>
                    <a:pt x="317182" y="95554"/>
                  </a:lnTo>
                  <a:lnTo>
                    <a:pt x="319557" y="110566"/>
                  </a:lnTo>
                  <a:lnTo>
                    <a:pt x="326961" y="122212"/>
                  </a:lnTo>
                  <a:lnTo>
                    <a:pt x="339864" y="130327"/>
                  </a:lnTo>
                  <a:lnTo>
                    <a:pt x="358711" y="134747"/>
                  </a:lnTo>
                  <a:lnTo>
                    <a:pt x="384708" y="137769"/>
                  </a:lnTo>
                  <a:lnTo>
                    <a:pt x="394220" y="139903"/>
                  </a:lnTo>
                  <a:lnTo>
                    <a:pt x="400075" y="143484"/>
                  </a:lnTo>
                  <a:lnTo>
                    <a:pt x="403009" y="148526"/>
                  </a:lnTo>
                  <a:lnTo>
                    <a:pt x="403821" y="154990"/>
                  </a:lnTo>
                  <a:lnTo>
                    <a:pt x="402107" y="162864"/>
                  </a:lnTo>
                  <a:lnTo>
                    <a:pt x="397065" y="168719"/>
                  </a:lnTo>
                  <a:lnTo>
                    <a:pt x="388912" y="172377"/>
                  </a:lnTo>
                  <a:lnTo>
                    <a:pt x="377825" y="173634"/>
                  </a:lnTo>
                  <a:lnTo>
                    <a:pt x="366052" y="172262"/>
                  </a:lnTo>
                  <a:lnTo>
                    <a:pt x="357517" y="168300"/>
                  </a:lnTo>
                  <a:lnTo>
                    <a:pt x="351942" y="161925"/>
                  </a:lnTo>
                  <a:lnTo>
                    <a:pt x="349034" y="153327"/>
                  </a:lnTo>
                  <a:lnTo>
                    <a:pt x="314972" y="153327"/>
                  </a:lnTo>
                  <a:lnTo>
                    <a:pt x="320421" y="171170"/>
                  </a:lnTo>
                  <a:lnTo>
                    <a:pt x="332676" y="185318"/>
                  </a:lnTo>
                  <a:lnTo>
                    <a:pt x="351726" y="194627"/>
                  </a:lnTo>
                  <a:lnTo>
                    <a:pt x="377571" y="197980"/>
                  </a:lnTo>
                  <a:lnTo>
                    <a:pt x="401027" y="194665"/>
                  </a:lnTo>
                  <a:lnTo>
                    <a:pt x="419912" y="185166"/>
                  </a:lnTo>
                  <a:lnTo>
                    <a:pt x="432523" y="170167"/>
                  </a:lnTo>
                  <a:lnTo>
                    <a:pt x="437108" y="150368"/>
                  </a:lnTo>
                  <a:close/>
                </a:path>
                <a:path w="541654" h="198120">
                  <a:moveTo>
                    <a:pt x="541159" y="168173"/>
                  </a:moveTo>
                  <a:lnTo>
                    <a:pt x="527253" y="168173"/>
                  </a:lnTo>
                  <a:lnTo>
                    <a:pt x="518731" y="167144"/>
                  </a:lnTo>
                  <a:lnTo>
                    <a:pt x="512635" y="163931"/>
                  </a:lnTo>
                  <a:lnTo>
                    <a:pt x="508977" y="158305"/>
                  </a:lnTo>
                  <a:lnTo>
                    <a:pt x="507758" y="150050"/>
                  </a:lnTo>
                  <a:lnTo>
                    <a:pt x="507758" y="77571"/>
                  </a:lnTo>
                  <a:lnTo>
                    <a:pt x="540702" y="77571"/>
                  </a:lnTo>
                  <a:lnTo>
                    <a:pt x="540702" y="52565"/>
                  </a:lnTo>
                  <a:lnTo>
                    <a:pt x="507758" y="52565"/>
                  </a:lnTo>
                  <a:lnTo>
                    <a:pt x="507758" y="0"/>
                  </a:lnTo>
                  <a:lnTo>
                    <a:pt x="474218" y="0"/>
                  </a:lnTo>
                  <a:lnTo>
                    <a:pt x="474218" y="52565"/>
                  </a:lnTo>
                  <a:lnTo>
                    <a:pt x="446532" y="52565"/>
                  </a:lnTo>
                  <a:lnTo>
                    <a:pt x="446532" y="77571"/>
                  </a:lnTo>
                  <a:lnTo>
                    <a:pt x="473951" y="77571"/>
                  </a:lnTo>
                  <a:lnTo>
                    <a:pt x="474281" y="152234"/>
                  </a:lnTo>
                  <a:lnTo>
                    <a:pt x="477202" y="170624"/>
                  </a:lnTo>
                  <a:lnTo>
                    <a:pt x="486029" y="183819"/>
                  </a:lnTo>
                  <a:lnTo>
                    <a:pt x="500824" y="191795"/>
                  </a:lnTo>
                  <a:lnTo>
                    <a:pt x="521665" y="194462"/>
                  </a:lnTo>
                  <a:lnTo>
                    <a:pt x="541159" y="194462"/>
                  </a:lnTo>
                  <a:lnTo>
                    <a:pt x="541159" y="16817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object 13">
            <a:extLst>
              <a:ext uri="{FF2B5EF4-FFF2-40B4-BE49-F238E27FC236}">
                <a16:creationId xmlns:a16="http://schemas.microsoft.com/office/drawing/2014/main" id="{3E893EC9-1175-171D-455A-F5E6BA716442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8965436" y="6464889"/>
            <a:ext cx="2595864" cy="158681"/>
          </a:xfrm>
          <a:prstGeom prst="rect">
            <a:avLst/>
          </a:prstGeom>
        </p:spPr>
        <p:txBody>
          <a:bodyPr vert="horz" wrap="square" lIns="0" tIns="31951" rIns="0" bIns="0" rtlCol="0">
            <a:spAutoFit/>
          </a:bodyPr>
          <a:lstStyle/>
          <a:p>
            <a:pPr marL="13042">
              <a:spcBef>
                <a:spcPts val="252"/>
              </a:spcBef>
            </a:pPr>
            <a:r>
              <a:rPr>
                <a:solidFill>
                  <a:schemeClr val="bg1"/>
                </a:solidFill>
              </a:rPr>
              <a:t>Inside</a:t>
            </a:r>
            <a:r>
              <a:rPr spc="-21">
                <a:solidFill>
                  <a:schemeClr val="bg1"/>
                </a:solidFill>
              </a:rPr>
              <a:t> </a:t>
            </a:r>
            <a:r>
              <a:rPr spc="-10">
                <a:solidFill>
                  <a:schemeClr val="bg1"/>
                </a:solidFill>
              </a:rPr>
              <a:t>Australian</a:t>
            </a:r>
            <a:r>
              <a:rPr>
                <a:solidFill>
                  <a:schemeClr val="bg1"/>
                </a:solidFill>
              </a:rPr>
              <a:t> Online</a:t>
            </a:r>
            <a:r>
              <a:rPr spc="5">
                <a:solidFill>
                  <a:schemeClr val="bg1"/>
                </a:solidFill>
              </a:rPr>
              <a:t> </a:t>
            </a:r>
            <a:r>
              <a:rPr>
                <a:solidFill>
                  <a:schemeClr val="bg1"/>
                </a:solidFill>
              </a:rPr>
              <a:t>Shopping</a:t>
            </a:r>
            <a:r>
              <a:rPr spc="288">
                <a:solidFill>
                  <a:schemeClr val="bg1"/>
                </a:solidFill>
              </a:rPr>
              <a:t> </a:t>
            </a:r>
            <a:r>
              <a:rPr>
                <a:solidFill>
                  <a:srgbClr val="DC1928"/>
                </a:solidFill>
              </a:rPr>
              <a:t>|</a:t>
            </a:r>
            <a:r>
              <a:rPr spc="267">
                <a:solidFill>
                  <a:srgbClr val="DC1928"/>
                </a:solidFill>
              </a:rPr>
              <a:t> </a:t>
            </a:r>
            <a:r>
              <a:rPr spc="-10">
                <a:solidFill>
                  <a:schemeClr val="bg1"/>
                </a:solidFill>
              </a:rPr>
              <a:t>Australia</a:t>
            </a:r>
            <a:r>
              <a:rPr>
                <a:solidFill>
                  <a:schemeClr val="bg1"/>
                </a:solidFill>
              </a:rPr>
              <a:t> Post</a:t>
            </a:r>
            <a:r>
              <a:rPr spc="288">
                <a:solidFill>
                  <a:schemeClr val="bg1"/>
                </a:solidFill>
              </a:rPr>
              <a:t> </a:t>
            </a:r>
            <a:r>
              <a:rPr>
                <a:solidFill>
                  <a:srgbClr val="DC1928"/>
                </a:solidFill>
              </a:rPr>
              <a:t>|</a:t>
            </a:r>
            <a:r>
              <a:rPr spc="293">
                <a:solidFill>
                  <a:srgbClr val="DC1928"/>
                </a:solidFill>
              </a:rPr>
              <a:t> </a:t>
            </a:r>
            <a:r>
              <a:rPr spc="-21">
                <a:solidFill>
                  <a:schemeClr val="bg1"/>
                </a:solidFill>
              </a:rPr>
              <a:t>2024</a:t>
            </a:r>
          </a:p>
        </p:txBody>
      </p:sp>
    </p:spTree>
    <p:extLst>
      <p:ext uri="{BB962C8B-B14F-4D97-AF65-F5344CB8AC3E}">
        <p14:creationId xmlns:p14="http://schemas.microsoft.com/office/powerpoint/2010/main" val="36643175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erson sitting on a bed looking at a cell phone&#10;&#10;Description automatically generated">
            <a:extLst>
              <a:ext uri="{FF2B5EF4-FFF2-40B4-BE49-F238E27FC236}">
                <a16:creationId xmlns:a16="http://schemas.microsoft.com/office/drawing/2014/main" id="{FEE1BE09-DC5A-FA50-67A9-D4DAB3AA148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" t="5847" r="15929" b="5845"/>
          <a:stretch/>
        </p:blipFill>
        <p:spPr>
          <a:xfrm>
            <a:off x="-16302" y="0"/>
            <a:ext cx="4339483" cy="6858000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66821DE1-9924-60CF-FB67-233F244A2B46}"/>
              </a:ext>
            </a:extLst>
          </p:cNvPr>
          <p:cNvGrpSpPr/>
          <p:nvPr/>
        </p:nvGrpSpPr>
        <p:grpSpPr>
          <a:xfrm>
            <a:off x="1032097" y="3176835"/>
            <a:ext cx="2881747" cy="3124057"/>
            <a:chOff x="1032097" y="3538785"/>
            <a:chExt cx="2881747" cy="3124057"/>
          </a:xfrm>
        </p:grpSpPr>
        <p:sp>
          <p:nvSpPr>
            <p:cNvPr id="9" name="object 7">
              <a:extLst>
                <a:ext uri="{FF2B5EF4-FFF2-40B4-BE49-F238E27FC236}">
                  <a16:creationId xmlns:a16="http://schemas.microsoft.com/office/drawing/2014/main" id="{D75D3AAF-3DD4-75A0-8712-BDB6EDE461FE}"/>
                </a:ext>
              </a:extLst>
            </p:cNvPr>
            <p:cNvSpPr/>
            <p:nvPr/>
          </p:nvSpPr>
          <p:spPr>
            <a:xfrm>
              <a:off x="1032097" y="3538785"/>
              <a:ext cx="2881747" cy="3124057"/>
            </a:xfrm>
            <a:custGeom>
              <a:avLst/>
              <a:gdLst/>
              <a:ahLst/>
              <a:cxnLst/>
              <a:rect l="l" t="t" r="r" b="b"/>
              <a:pathLst>
                <a:path w="3135629" h="1602739">
                  <a:moveTo>
                    <a:pt x="3088805" y="0"/>
                  </a:moveTo>
                  <a:lnTo>
                    <a:pt x="46799" y="0"/>
                  </a:lnTo>
                  <a:lnTo>
                    <a:pt x="28578" y="3034"/>
                  </a:lnTo>
                  <a:lnTo>
                    <a:pt x="13703" y="11309"/>
                  </a:lnTo>
                  <a:lnTo>
                    <a:pt x="3676" y="23585"/>
                  </a:lnTo>
                  <a:lnTo>
                    <a:pt x="0" y="38620"/>
                  </a:lnTo>
                  <a:lnTo>
                    <a:pt x="0" y="1563751"/>
                  </a:lnTo>
                  <a:lnTo>
                    <a:pt x="3676" y="1578786"/>
                  </a:lnTo>
                  <a:lnTo>
                    <a:pt x="13703" y="1591062"/>
                  </a:lnTo>
                  <a:lnTo>
                    <a:pt x="28578" y="1599337"/>
                  </a:lnTo>
                  <a:lnTo>
                    <a:pt x="46799" y="1602371"/>
                  </a:lnTo>
                  <a:lnTo>
                    <a:pt x="3088805" y="1602371"/>
                  </a:lnTo>
                  <a:lnTo>
                    <a:pt x="3107015" y="1599337"/>
                  </a:lnTo>
                  <a:lnTo>
                    <a:pt x="3121891" y="1591062"/>
                  </a:lnTo>
                  <a:lnTo>
                    <a:pt x="3131924" y="1578786"/>
                  </a:lnTo>
                  <a:lnTo>
                    <a:pt x="3135604" y="1563751"/>
                  </a:lnTo>
                  <a:lnTo>
                    <a:pt x="3135604" y="38620"/>
                  </a:lnTo>
                  <a:lnTo>
                    <a:pt x="3131924" y="23585"/>
                  </a:lnTo>
                  <a:lnTo>
                    <a:pt x="3121891" y="11309"/>
                  </a:lnTo>
                  <a:lnTo>
                    <a:pt x="3107015" y="3034"/>
                  </a:lnTo>
                  <a:lnTo>
                    <a:pt x="3088805" y="0"/>
                  </a:lnTo>
                  <a:close/>
                </a:path>
              </a:pathLst>
            </a:custGeom>
            <a:solidFill>
              <a:srgbClr val="FCF2F5">
                <a:alpha val="90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7">
              <a:extLst>
                <a:ext uri="{FF2B5EF4-FFF2-40B4-BE49-F238E27FC236}">
                  <a16:creationId xmlns:a16="http://schemas.microsoft.com/office/drawing/2014/main" id="{DA05F450-50CF-66B4-D7CA-13B73E9BD07C}"/>
                </a:ext>
              </a:extLst>
            </p:cNvPr>
            <p:cNvSpPr txBox="1">
              <a:spLocks/>
            </p:cNvSpPr>
            <p:nvPr/>
          </p:nvSpPr>
          <p:spPr>
            <a:xfrm>
              <a:off x="1256270" y="3667589"/>
              <a:ext cx="2561044" cy="372935"/>
            </a:xfrm>
            <a:prstGeom prst="rect">
              <a:avLst/>
            </a:prstGeom>
          </p:spPr>
          <p:txBody>
            <a:bodyPr vert="horz" wrap="square" lIns="0" tIns="15650" rIns="0" bIns="0" rtlCol="0">
              <a:spAutoFit/>
            </a:bodyPr>
            <a:lstStyle>
              <a:lvl1pPr>
                <a:defRPr sz="3900" b="1" i="0">
                  <a:solidFill>
                    <a:schemeClr val="bg1"/>
                  </a:solidFill>
                  <a:latin typeface="AP Type Pro Display Bold"/>
                  <a:ea typeface="+mj-ea"/>
                  <a:cs typeface="AP Type Pro Display Bold"/>
                </a:defRPr>
              </a:lvl1pPr>
            </a:lstStyle>
            <a:p>
              <a:pPr marL="13042">
                <a:spcBef>
                  <a:spcPts val="123"/>
                </a:spcBef>
              </a:pPr>
              <a:r>
                <a:rPr lang="en-AU" sz="1130" spc="-26">
                  <a:solidFill>
                    <a:srgbClr val="DD1A32"/>
                  </a:solidFill>
                  <a:latin typeface="AP Type Text" panose="020B0503030202060203" pitchFamily="34" charset="0"/>
                  <a:cs typeface="AP Type Pro Text Medium"/>
                </a:rPr>
                <a:t>Growth in online purchases during sales events (2023 vs 2019)</a:t>
              </a:r>
              <a:endParaRPr lang="en-AU" sz="1130">
                <a:solidFill>
                  <a:srgbClr val="DD1A32"/>
                </a:solidFill>
                <a:latin typeface="AP Type Text" panose="020B0503030202060203" pitchFamily="34" charset="0"/>
                <a:cs typeface="AP Type Pro Text Medium"/>
              </a:endParaRP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D1AF8128-8731-FF53-3202-BB482B8352B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245899" y="4047877"/>
              <a:ext cx="2448559" cy="2556653"/>
            </a:xfrm>
            <a:prstGeom prst="rect">
              <a:avLst/>
            </a:prstGeom>
          </p:spPr>
        </p:pic>
      </p:grpSp>
      <p:sp>
        <p:nvSpPr>
          <p:cNvPr id="12" name="object 3">
            <a:extLst>
              <a:ext uri="{FF2B5EF4-FFF2-40B4-BE49-F238E27FC236}">
                <a16:creationId xmlns:a16="http://schemas.microsoft.com/office/drawing/2014/main" id="{E9D4F48F-3746-C445-1FEC-CFD98029F224}"/>
              </a:ext>
            </a:extLst>
          </p:cNvPr>
          <p:cNvSpPr/>
          <p:nvPr/>
        </p:nvSpPr>
        <p:spPr>
          <a:xfrm flipH="1">
            <a:off x="623737" y="576771"/>
            <a:ext cx="45719" cy="5742610"/>
          </a:xfrm>
          <a:custGeom>
            <a:avLst/>
            <a:gdLst/>
            <a:ahLst/>
            <a:cxnLst/>
            <a:rect l="l" t="t" r="r" b="b"/>
            <a:pathLst>
              <a:path h="6264275">
                <a:moveTo>
                  <a:pt x="0" y="0"/>
                </a:moveTo>
                <a:lnTo>
                  <a:pt x="0" y="6263995"/>
                </a:lnTo>
              </a:path>
            </a:pathLst>
          </a:custGeom>
          <a:ln w="12700">
            <a:solidFill>
              <a:srgbClr val="2B559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2">
            <a:extLst>
              <a:ext uri="{FF2B5EF4-FFF2-40B4-BE49-F238E27FC236}">
                <a16:creationId xmlns:a16="http://schemas.microsoft.com/office/drawing/2014/main" id="{E1D9CDA1-BA79-9571-43EA-8ED5A68D74FE}"/>
              </a:ext>
            </a:extLst>
          </p:cNvPr>
          <p:cNvSpPr txBox="1">
            <a:spLocks/>
          </p:cNvSpPr>
          <p:nvPr/>
        </p:nvSpPr>
        <p:spPr>
          <a:xfrm>
            <a:off x="4661636" y="694535"/>
            <a:ext cx="7196989" cy="1067373"/>
          </a:xfrm>
          <a:prstGeom prst="rect">
            <a:avLst/>
          </a:prstGeom>
        </p:spPr>
        <p:txBody>
          <a:bodyPr vert="horz" wrap="square" lIns="0" tIns="15650" rIns="0" bIns="0" rtlCol="0">
            <a:spAutoFit/>
          </a:bodyPr>
          <a:lstStyle>
            <a:lvl1pPr>
              <a:defRPr sz="4005" b="1" i="0">
                <a:solidFill>
                  <a:schemeClr val="bg1"/>
                </a:solidFill>
                <a:latin typeface="AP Type Pro Display Bold"/>
                <a:ea typeface="+mj-ea"/>
                <a:cs typeface="AP Type Pro Display Bold"/>
              </a:defRPr>
            </a:lvl1pPr>
          </a:lstStyle>
          <a:p>
            <a:pPr marL="13042">
              <a:lnSpc>
                <a:spcPts val="4108"/>
              </a:lnSpc>
            </a:pPr>
            <a:r>
              <a:rPr lang="en-US" sz="3697" b="0" spc="-26">
                <a:solidFill>
                  <a:srgbClr val="000000"/>
                </a:solidFill>
                <a:latin typeface="AP Type Pro Text Medium"/>
              </a:rPr>
              <a:t>Online sales events accelerated in popularity</a:t>
            </a:r>
            <a:endParaRPr lang="en-AU" sz="3697" b="0">
              <a:latin typeface="AP Type Pro Text Medium"/>
              <a:cs typeface="AP Type Pro Text Medium"/>
            </a:endParaRPr>
          </a:p>
        </p:txBody>
      </p:sp>
      <p:sp>
        <p:nvSpPr>
          <p:cNvPr id="17" name="object 3">
            <a:extLst>
              <a:ext uri="{FF2B5EF4-FFF2-40B4-BE49-F238E27FC236}">
                <a16:creationId xmlns:a16="http://schemas.microsoft.com/office/drawing/2014/main" id="{192223B8-059C-4F8E-A96E-32FE0B47F748}"/>
              </a:ext>
            </a:extLst>
          </p:cNvPr>
          <p:cNvSpPr txBox="1"/>
          <p:nvPr/>
        </p:nvSpPr>
        <p:spPr>
          <a:xfrm>
            <a:off x="4695882" y="503014"/>
            <a:ext cx="2104967" cy="202772"/>
          </a:xfrm>
          <a:prstGeom prst="rect">
            <a:avLst/>
          </a:prstGeom>
        </p:spPr>
        <p:txBody>
          <a:bodyPr vert="horz" wrap="square" lIns="0" tIns="13041" rIns="0" bIns="0" rtlCol="0">
            <a:spAutoFit/>
          </a:bodyPr>
          <a:lstStyle/>
          <a:p>
            <a:pPr marL="13042">
              <a:spcBef>
                <a:spcPts val="103"/>
              </a:spcBef>
            </a:pPr>
            <a:r>
              <a:rPr lang="en-US" sz="1232">
                <a:latin typeface="AP Type Pro Text Medium"/>
                <a:cs typeface="AP Type Pro Text Medium"/>
              </a:rPr>
              <a:t>The Strategic Shopper</a:t>
            </a:r>
            <a:endParaRPr sz="1232">
              <a:latin typeface="AP Type Pro Text Medium"/>
              <a:cs typeface="AP Type Pro Text Medium"/>
            </a:endParaRPr>
          </a:p>
        </p:txBody>
      </p:sp>
      <p:sp>
        <p:nvSpPr>
          <p:cNvPr id="23" name="object 13">
            <a:extLst>
              <a:ext uri="{FF2B5EF4-FFF2-40B4-BE49-F238E27FC236}">
                <a16:creationId xmlns:a16="http://schemas.microsoft.com/office/drawing/2014/main" id="{0656A0FD-9D9D-C227-0C82-5D0008FBFFA6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8965436" y="6464889"/>
            <a:ext cx="2595864" cy="158681"/>
          </a:xfrm>
          <a:prstGeom prst="rect">
            <a:avLst/>
          </a:prstGeom>
        </p:spPr>
        <p:txBody>
          <a:bodyPr vert="horz" wrap="square" lIns="0" tIns="31951" rIns="0" bIns="0" rtlCol="0">
            <a:spAutoFit/>
          </a:bodyPr>
          <a:lstStyle/>
          <a:p>
            <a:pPr marL="13042">
              <a:spcBef>
                <a:spcPts val="252"/>
              </a:spcBef>
            </a:pPr>
            <a:r>
              <a:t>Inside</a:t>
            </a:r>
            <a:r>
              <a:rPr spc="-21"/>
              <a:t> </a:t>
            </a:r>
            <a:r>
              <a:rPr spc="-10"/>
              <a:t>Australian</a:t>
            </a:r>
            <a:r>
              <a:t> Online</a:t>
            </a:r>
            <a:r>
              <a:rPr spc="5"/>
              <a:t> </a:t>
            </a:r>
            <a:r>
              <a:t>Shopping</a:t>
            </a:r>
            <a:r>
              <a:rPr spc="288"/>
              <a:t> </a:t>
            </a:r>
            <a:r>
              <a:rPr>
                <a:solidFill>
                  <a:srgbClr val="DC1928"/>
                </a:solidFill>
              </a:rPr>
              <a:t>|</a:t>
            </a:r>
            <a:r>
              <a:rPr spc="267">
                <a:solidFill>
                  <a:srgbClr val="DC1928"/>
                </a:solidFill>
              </a:rPr>
              <a:t> </a:t>
            </a:r>
            <a:r>
              <a:rPr spc="-10"/>
              <a:t>Australia</a:t>
            </a:r>
            <a:r>
              <a:t> Post</a:t>
            </a:r>
            <a:r>
              <a:rPr spc="288"/>
              <a:t> </a:t>
            </a:r>
            <a:r>
              <a:rPr>
                <a:solidFill>
                  <a:srgbClr val="DC1928"/>
                </a:solidFill>
              </a:rPr>
              <a:t>|</a:t>
            </a:r>
            <a:r>
              <a:rPr spc="293">
                <a:solidFill>
                  <a:srgbClr val="DC1928"/>
                </a:solidFill>
              </a:rPr>
              <a:t> </a:t>
            </a:r>
            <a:r>
              <a:rPr spc="-21"/>
              <a:t>2024</a:t>
            </a:r>
          </a:p>
        </p:txBody>
      </p:sp>
      <p:sp>
        <p:nvSpPr>
          <p:cNvPr id="24" name="object 15">
            <a:extLst>
              <a:ext uri="{FF2B5EF4-FFF2-40B4-BE49-F238E27FC236}">
                <a16:creationId xmlns:a16="http://schemas.microsoft.com/office/drawing/2014/main" id="{5C253759-EE13-FC3F-2F6E-2BF60079272C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11722251" y="6446096"/>
            <a:ext cx="219092" cy="195554"/>
          </a:xfrm>
          <a:prstGeom prst="rect">
            <a:avLst/>
          </a:prstGeom>
        </p:spPr>
        <p:txBody>
          <a:bodyPr vert="horz" wrap="square" lIns="0" tIns="37168" rIns="0" bIns="0" rtlCol="0">
            <a:spAutoFit/>
          </a:bodyPr>
          <a:lstStyle/>
          <a:p>
            <a:pPr marL="39123">
              <a:spcBef>
                <a:spcPts val="293"/>
              </a:spcBef>
            </a:pPr>
            <a:fld id="{81D60167-4931-47E6-BA6A-407CBD079E47}" type="slidenum">
              <a:rPr spc="-26" dirty="0"/>
              <a:pPr marL="39123">
                <a:spcBef>
                  <a:spcPts val="293"/>
                </a:spcBef>
              </a:pPr>
              <a:t>3</a:t>
            </a:fld>
            <a:endParaRPr spc="-26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8CACE91-8B09-59A3-5BE3-603994357BEB}"/>
              </a:ext>
            </a:extLst>
          </p:cNvPr>
          <p:cNvSpPr/>
          <p:nvPr/>
        </p:nvSpPr>
        <p:spPr>
          <a:xfrm>
            <a:off x="4682593" y="1936119"/>
            <a:ext cx="3624100" cy="2663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755957">
              <a:spcBef>
                <a:spcPts val="661"/>
              </a:spcBef>
            </a:pPr>
            <a:r>
              <a:rPr lang="en-US" sz="1130" b="1" spc="-26">
                <a:solidFill>
                  <a:srgbClr val="DD1A32"/>
                </a:solidFill>
                <a:latin typeface="AP Type Text" panose="020B0503030202060203" pitchFamily="34" charset="0"/>
                <a:ea typeface="+mj-ea"/>
              </a:rPr>
              <a:t>Online purchase volume by week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3F746AF9-5E72-C83A-60CE-2F46598FDEB1}"/>
              </a:ext>
            </a:extLst>
          </p:cNvPr>
          <p:cNvCxnSpPr>
            <a:cxnSpLocks/>
          </p:cNvCxnSpPr>
          <p:nvPr/>
        </p:nvCxnSpPr>
        <p:spPr>
          <a:xfrm>
            <a:off x="4781749" y="2233574"/>
            <a:ext cx="0" cy="372219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9" name="Rectangle 58">
            <a:extLst>
              <a:ext uri="{FF2B5EF4-FFF2-40B4-BE49-F238E27FC236}">
                <a16:creationId xmlns:a16="http://schemas.microsoft.com/office/drawing/2014/main" id="{C9B41C1F-BB6E-5023-D456-6B4363290FF9}"/>
              </a:ext>
            </a:extLst>
          </p:cNvPr>
          <p:cNvSpPr/>
          <p:nvPr/>
        </p:nvSpPr>
        <p:spPr>
          <a:xfrm rot="16200000">
            <a:off x="3614596" y="4016066"/>
            <a:ext cx="2051171" cy="197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AU" sz="1100">
                <a:solidFill>
                  <a:schemeClr val="tx1"/>
                </a:solidFill>
                <a:latin typeface="AP Type Text" panose="020B0503030202060203" pitchFamily="34" charset="0"/>
              </a:rPr>
              <a:t>Number of online purchases 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741D959-72EA-B6D8-7759-01C18121EEDB}"/>
              </a:ext>
            </a:extLst>
          </p:cNvPr>
          <p:cNvGrpSpPr/>
          <p:nvPr/>
        </p:nvGrpSpPr>
        <p:grpSpPr>
          <a:xfrm>
            <a:off x="4779826" y="5954803"/>
            <a:ext cx="6657587" cy="289319"/>
            <a:chOff x="2214114" y="6404320"/>
            <a:chExt cx="7025355" cy="301445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3879395B-D37A-851B-AF9F-DE99F61BAB50}"/>
                </a:ext>
              </a:extLst>
            </p:cNvPr>
            <p:cNvSpPr/>
            <p:nvPr/>
          </p:nvSpPr>
          <p:spPr>
            <a:xfrm>
              <a:off x="2321491" y="6540702"/>
              <a:ext cx="259137" cy="16506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755957">
                <a:spcBef>
                  <a:spcPts val="661"/>
                </a:spcBef>
              </a:pPr>
              <a:r>
                <a:rPr lang="en-AU" sz="1100">
                  <a:solidFill>
                    <a:schemeClr val="tx1"/>
                  </a:solidFill>
                  <a:latin typeface="AP Type Text" panose="020B0503030202060203" pitchFamily="34" charset="0"/>
                  <a:ea typeface="Roboto"/>
                </a:rPr>
                <a:t>Jan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08E6B38D-59F0-D766-2FBF-0F4C638C7C7D}"/>
                </a:ext>
              </a:extLst>
            </p:cNvPr>
            <p:cNvSpPr/>
            <p:nvPr/>
          </p:nvSpPr>
          <p:spPr>
            <a:xfrm>
              <a:off x="2916859" y="6540702"/>
              <a:ext cx="395966" cy="16506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755957">
                <a:spcBef>
                  <a:spcPts val="661"/>
                </a:spcBef>
              </a:pPr>
              <a:r>
                <a:rPr lang="en-AU" sz="1100">
                  <a:solidFill>
                    <a:schemeClr val="tx1"/>
                  </a:solidFill>
                  <a:latin typeface="AP Type Text" panose="020B0503030202060203" pitchFamily="34" charset="0"/>
                  <a:ea typeface="Roboto"/>
                </a:rPr>
                <a:t>Feb</a:t>
              </a: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696530A3-BBF1-9DBD-0FF9-774FBCC86E3F}"/>
                </a:ext>
              </a:extLst>
            </p:cNvPr>
            <p:cNvSpPr/>
            <p:nvPr/>
          </p:nvSpPr>
          <p:spPr>
            <a:xfrm>
              <a:off x="3517848" y="6540702"/>
              <a:ext cx="283471" cy="16506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755957">
                <a:spcBef>
                  <a:spcPts val="661"/>
                </a:spcBef>
              </a:pPr>
              <a:r>
                <a:rPr lang="en-AU" sz="1100">
                  <a:solidFill>
                    <a:schemeClr val="tx1"/>
                  </a:solidFill>
                  <a:latin typeface="AP Type Text" panose="020B0503030202060203" pitchFamily="34" charset="0"/>
                  <a:ea typeface="Roboto"/>
                </a:rPr>
                <a:t>Mar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E2E3AE2F-C5A7-2EF9-FE74-8E7E65A5D4BD}"/>
                </a:ext>
              </a:extLst>
            </p:cNvPr>
            <p:cNvSpPr/>
            <p:nvPr/>
          </p:nvSpPr>
          <p:spPr>
            <a:xfrm>
              <a:off x="4125583" y="6540702"/>
              <a:ext cx="330779" cy="16506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755957">
                <a:spcBef>
                  <a:spcPts val="661"/>
                </a:spcBef>
              </a:pPr>
              <a:r>
                <a:rPr lang="en-AU" sz="1100">
                  <a:solidFill>
                    <a:schemeClr val="tx1"/>
                  </a:solidFill>
                  <a:latin typeface="AP Type Text" panose="020B0503030202060203" pitchFamily="34" charset="0"/>
                  <a:ea typeface="Roboto"/>
                </a:rPr>
                <a:t>Apr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277976D4-1CD6-B7E3-51B5-7C38D9BF7203}"/>
                </a:ext>
              </a:extLst>
            </p:cNvPr>
            <p:cNvSpPr/>
            <p:nvPr/>
          </p:nvSpPr>
          <p:spPr>
            <a:xfrm>
              <a:off x="4714204" y="6540702"/>
              <a:ext cx="308470" cy="16506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755957">
                <a:spcBef>
                  <a:spcPts val="661"/>
                </a:spcBef>
              </a:pPr>
              <a:r>
                <a:rPr lang="en-AU" sz="1100">
                  <a:solidFill>
                    <a:schemeClr val="tx1"/>
                  </a:solidFill>
                  <a:latin typeface="AP Type Text" panose="020B0503030202060203" pitchFamily="34" charset="0"/>
                  <a:ea typeface="Roboto"/>
                </a:rPr>
                <a:t>May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267EA576-C84A-EE80-CC61-DAD89212622B}"/>
                </a:ext>
              </a:extLst>
            </p:cNvPr>
            <p:cNvSpPr/>
            <p:nvPr/>
          </p:nvSpPr>
          <p:spPr>
            <a:xfrm>
              <a:off x="5343301" y="6540702"/>
              <a:ext cx="264680" cy="16506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755957">
                <a:spcBef>
                  <a:spcPts val="661"/>
                </a:spcBef>
              </a:pPr>
              <a:r>
                <a:rPr lang="en-AU" sz="1100">
                  <a:solidFill>
                    <a:schemeClr val="tx1"/>
                  </a:solidFill>
                  <a:latin typeface="AP Type Text" panose="020B0503030202060203" pitchFamily="34" charset="0"/>
                  <a:ea typeface="Roboto"/>
                </a:rPr>
                <a:t>Jun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F7C8BDBE-230F-915E-DDFB-9CD846632334}"/>
                </a:ext>
              </a:extLst>
            </p:cNvPr>
            <p:cNvSpPr/>
            <p:nvPr/>
          </p:nvSpPr>
          <p:spPr>
            <a:xfrm>
              <a:off x="5943166" y="6540702"/>
              <a:ext cx="221721" cy="16506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755957">
                <a:spcBef>
                  <a:spcPts val="661"/>
                </a:spcBef>
              </a:pPr>
              <a:r>
                <a:rPr lang="en-AU" sz="1100">
                  <a:solidFill>
                    <a:schemeClr val="tx1"/>
                  </a:solidFill>
                  <a:latin typeface="AP Type Text" panose="020B0503030202060203" pitchFamily="34" charset="0"/>
                  <a:ea typeface="Roboto"/>
                </a:rPr>
                <a:t>Jul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7ABE0C2F-354F-D9C2-5051-91FAAD91E71C}"/>
                </a:ext>
              </a:extLst>
            </p:cNvPr>
            <p:cNvSpPr/>
            <p:nvPr/>
          </p:nvSpPr>
          <p:spPr>
            <a:xfrm>
              <a:off x="6508175" y="6540702"/>
              <a:ext cx="323743" cy="16506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755957">
                <a:spcBef>
                  <a:spcPts val="661"/>
                </a:spcBef>
              </a:pPr>
              <a:r>
                <a:rPr lang="en-AU" sz="1100">
                  <a:solidFill>
                    <a:schemeClr val="tx1"/>
                  </a:solidFill>
                  <a:latin typeface="AP Type Text" panose="020B0503030202060203" pitchFamily="34" charset="0"/>
                  <a:ea typeface="Roboto"/>
                </a:rPr>
                <a:t>Aug</a:t>
              </a: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52075D93-2A25-788D-2369-854E4D4636B7}"/>
                </a:ext>
              </a:extLst>
            </p:cNvPr>
            <p:cNvSpPr/>
            <p:nvPr/>
          </p:nvSpPr>
          <p:spPr>
            <a:xfrm>
              <a:off x="7121531" y="6540702"/>
              <a:ext cx="277151" cy="16506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755957">
                <a:spcBef>
                  <a:spcPts val="661"/>
                </a:spcBef>
              </a:pPr>
              <a:r>
                <a:rPr lang="en-AU" sz="1100">
                  <a:solidFill>
                    <a:schemeClr val="tx1"/>
                  </a:solidFill>
                  <a:latin typeface="AP Type Text" panose="020B0503030202060203" pitchFamily="34" charset="0"/>
                  <a:ea typeface="Roboto"/>
                </a:rPr>
                <a:t>Sep</a:t>
              </a: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BDD71040-9942-ADEA-9585-F69D88601509}"/>
                </a:ext>
              </a:extLst>
            </p:cNvPr>
            <p:cNvSpPr/>
            <p:nvPr/>
          </p:nvSpPr>
          <p:spPr>
            <a:xfrm>
              <a:off x="7731514" y="6540702"/>
              <a:ext cx="259137" cy="16506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755957">
                <a:spcBef>
                  <a:spcPts val="661"/>
                </a:spcBef>
              </a:pPr>
              <a:r>
                <a:rPr lang="en-AU" sz="1100">
                  <a:solidFill>
                    <a:schemeClr val="tx1"/>
                  </a:solidFill>
                  <a:latin typeface="AP Type Text" panose="020B0503030202060203" pitchFamily="34" charset="0"/>
                  <a:ea typeface="Roboto"/>
                </a:rPr>
                <a:t>Oct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17D4DD03-03C4-D9E0-71F8-38C6B76E3600}"/>
                </a:ext>
              </a:extLst>
            </p:cNvPr>
            <p:cNvSpPr/>
            <p:nvPr/>
          </p:nvSpPr>
          <p:spPr>
            <a:xfrm>
              <a:off x="8326881" y="6540702"/>
              <a:ext cx="291779" cy="16506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755957">
                <a:spcBef>
                  <a:spcPts val="661"/>
                </a:spcBef>
              </a:pPr>
              <a:r>
                <a:rPr lang="en-AU" sz="1100">
                  <a:solidFill>
                    <a:schemeClr val="tx1"/>
                  </a:solidFill>
                  <a:latin typeface="AP Type Text" panose="020B0503030202060203" pitchFamily="34" charset="0"/>
                  <a:ea typeface="Roboto"/>
                </a:rPr>
                <a:t>Nov</a:t>
              </a: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5BEC175F-D01F-232B-86CC-1D1CA169D463}"/>
                </a:ext>
              </a:extLst>
            </p:cNvPr>
            <p:cNvSpPr/>
            <p:nvPr/>
          </p:nvSpPr>
          <p:spPr>
            <a:xfrm>
              <a:off x="8949233" y="6540702"/>
              <a:ext cx="282695" cy="16506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755957">
                <a:spcBef>
                  <a:spcPts val="661"/>
                </a:spcBef>
              </a:pPr>
              <a:r>
                <a:rPr lang="en-AU" sz="1100">
                  <a:solidFill>
                    <a:schemeClr val="tx1"/>
                  </a:solidFill>
                  <a:latin typeface="AP Type Text" panose="020B0503030202060203" pitchFamily="34" charset="0"/>
                  <a:ea typeface="Roboto"/>
                </a:rPr>
                <a:t>Dec</a:t>
              </a:r>
            </a:p>
          </p:txBody>
        </p: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5D26EB1-6902-A473-33DD-D78437640224}"/>
                </a:ext>
              </a:extLst>
            </p:cNvPr>
            <p:cNvCxnSpPr>
              <a:cxnSpLocks/>
            </p:cNvCxnSpPr>
            <p:nvPr/>
          </p:nvCxnSpPr>
          <p:spPr>
            <a:xfrm>
              <a:off x="2214114" y="6404320"/>
              <a:ext cx="7025355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aphicFrame>
        <p:nvGraphicFramePr>
          <p:cNvPr id="62" name="Chart 61">
            <a:extLst>
              <a:ext uri="{FF2B5EF4-FFF2-40B4-BE49-F238E27FC236}">
                <a16:creationId xmlns:a16="http://schemas.microsoft.com/office/drawing/2014/main" id="{65CB08AF-F9EE-A3CF-9456-1A95FC3E6F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72855459"/>
              </p:ext>
            </p:extLst>
          </p:nvPr>
        </p:nvGraphicFramePr>
        <p:xfrm>
          <a:off x="4620034" y="1955570"/>
          <a:ext cx="6865626" cy="38584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1" name="Rectangle 2">
            <a:extLst>
              <a:ext uri="{FF2B5EF4-FFF2-40B4-BE49-F238E27FC236}">
                <a16:creationId xmlns:a16="http://schemas.microsoft.com/office/drawing/2014/main" id="{925E3B99-3E46-0A42-34DC-B175487D5F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833132" y="2105829"/>
            <a:ext cx="821863" cy="433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897" tIns="46949" rIns="93897" bIns="46949" numCol="1" anchor="ctr" anchorCtr="0" compatLnSpc="1">
            <a:prstTxWarp prst="textNoShape">
              <a:avLst/>
            </a:prstTxWarp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162">
              <a:defRPr>
                <a:latin typeface="+mn-lt"/>
                <a:ea typeface="+mn-ea"/>
                <a:cs typeface="+mn-cs"/>
              </a:defRPr>
            </a:lvl2pPr>
            <a:lvl3pPr marL="914326">
              <a:defRPr>
                <a:latin typeface="+mn-lt"/>
                <a:ea typeface="+mn-ea"/>
                <a:cs typeface="+mn-cs"/>
              </a:defRPr>
            </a:lvl3pPr>
            <a:lvl4pPr marL="1371488">
              <a:defRPr>
                <a:latin typeface="+mn-lt"/>
                <a:ea typeface="+mn-ea"/>
                <a:cs typeface="+mn-cs"/>
              </a:defRPr>
            </a:lvl4pPr>
            <a:lvl5pPr marL="1828650">
              <a:defRPr>
                <a:latin typeface="+mn-lt"/>
                <a:ea typeface="+mn-ea"/>
                <a:cs typeface="+mn-cs"/>
              </a:defRPr>
            </a:lvl5pPr>
            <a:lvl6pPr marL="2285813">
              <a:defRPr>
                <a:latin typeface="+mn-lt"/>
                <a:ea typeface="+mn-ea"/>
                <a:cs typeface="+mn-cs"/>
              </a:defRPr>
            </a:lvl6pPr>
            <a:lvl7pPr marL="2742975">
              <a:defRPr>
                <a:latin typeface="+mn-lt"/>
                <a:ea typeface="+mn-ea"/>
                <a:cs typeface="+mn-cs"/>
              </a:defRPr>
            </a:lvl7pPr>
            <a:lvl8pPr marL="3200138">
              <a:defRPr>
                <a:latin typeface="+mn-lt"/>
                <a:ea typeface="+mn-ea"/>
                <a:cs typeface="+mn-cs"/>
              </a:defRPr>
            </a:lvl8pPr>
            <a:lvl9pPr marL="3657300">
              <a:defRPr>
                <a:latin typeface="+mn-lt"/>
                <a:ea typeface="+mn-ea"/>
                <a:cs typeface="+mn-cs"/>
              </a:defRPr>
            </a:lvl9pPr>
          </a:lstStyle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100">
                <a:solidFill>
                  <a:schemeClr val="tx1"/>
                </a:solidFill>
                <a:latin typeface="AP Type Pro Text Medium" panose="020B0604020202020204" charset="0"/>
              </a:rPr>
              <a:t>Cyber Monday </a:t>
            </a:r>
          </a:p>
        </p:txBody>
      </p:sp>
      <p:sp>
        <p:nvSpPr>
          <p:cNvPr id="82" name="Rectangle 2">
            <a:extLst>
              <a:ext uri="{FF2B5EF4-FFF2-40B4-BE49-F238E27FC236}">
                <a16:creationId xmlns:a16="http://schemas.microsoft.com/office/drawing/2014/main" id="{08639F20-AA3B-018B-E32C-837122731C8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81456" y="2281419"/>
            <a:ext cx="726766" cy="433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897" tIns="46949" rIns="93897" bIns="46949" numCol="1" anchor="ctr" anchorCtr="0" compatLnSpc="1">
            <a:prstTxWarp prst="textNoShape">
              <a:avLst/>
            </a:prstTxWarp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162">
              <a:defRPr>
                <a:latin typeface="+mn-lt"/>
                <a:ea typeface="+mn-ea"/>
                <a:cs typeface="+mn-cs"/>
              </a:defRPr>
            </a:lvl2pPr>
            <a:lvl3pPr marL="914326">
              <a:defRPr>
                <a:latin typeface="+mn-lt"/>
                <a:ea typeface="+mn-ea"/>
                <a:cs typeface="+mn-cs"/>
              </a:defRPr>
            </a:lvl3pPr>
            <a:lvl4pPr marL="1371488">
              <a:defRPr>
                <a:latin typeface="+mn-lt"/>
                <a:ea typeface="+mn-ea"/>
                <a:cs typeface="+mn-cs"/>
              </a:defRPr>
            </a:lvl4pPr>
            <a:lvl5pPr marL="1828650">
              <a:defRPr>
                <a:latin typeface="+mn-lt"/>
                <a:ea typeface="+mn-ea"/>
                <a:cs typeface="+mn-cs"/>
              </a:defRPr>
            </a:lvl5pPr>
            <a:lvl6pPr marL="2285813">
              <a:defRPr>
                <a:latin typeface="+mn-lt"/>
                <a:ea typeface="+mn-ea"/>
                <a:cs typeface="+mn-cs"/>
              </a:defRPr>
            </a:lvl6pPr>
            <a:lvl7pPr marL="2742975">
              <a:defRPr>
                <a:latin typeface="+mn-lt"/>
                <a:ea typeface="+mn-ea"/>
                <a:cs typeface="+mn-cs"/>
              </a:defRPr>
            </a:lvl7pPr>
            <a:lvl8pPr marL="3200138">
              <a:defRPr>
                <a:latin typeface="+mn-lt"/>
                <a:ea typeface="+mn-ea"/>
                <a:cs typeface="+mn-cs"/>
              </a:defRPr>
            </a:lvl8pPr>
            <a:lvl9pPr marL="3657300">
              <a:defRPr>
                <a:latin typeface="+mn-lt"/>
                <a:ea typeface="+mn-ea"/>
                <a:cs typeface="+mn-cs"/>
              </a:defRPr>
            </a:lvl9pPr>
          </a:lstStyle>
          <a:p>
            <a:pPr algn="r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100">
                <a:solidFill>
                  <a:schemeClr val="tx1"/>
                </a:solidFill>
                <a:latin typeface="AP Type Pro Text Medium" panose="020B0604020202020204" charset="0"/>
              </a:rPr>
              <a:t>Black Friday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961402F-CED6-E216-FAB0-4F9A434EB937}"/>
              </a:ext>
            </a:extLst>
          </p:cNvPr>
          <p:cNvCxnSpPr>
            <a:cxnSpLocks/>
          </p:cNvCxnSpPr>
          <p:nvPr/>
        </p:nvCxnSpPr>
        <p:spPr>
          <a:xfrm flipV="1">
            <a:off x="10900561" y="2192299"/>
            <a:ext cx="0" cy="349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81157E6-0520-F6EE-56E7-3942CFBC2BB8}"/>
              </a:ext>
            </a:extLst>
          </p:cNvPr>
          <p:cNvCxnSpPr>
            <a:cxnSpLocks/>
          </p:cNvCxnSpPr>
          <p:nvPr/>
        </p:nvCxnSpPr>
        <p:spPr>
          <a:xfrm flipV="1">
            <a:off x="10761293" y="2349917"/>
            <a:ext cx="0" cy="349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2">
            <a:extLst>
              <a:ext uri="{FF2B5EF4-FFF2-40B4-BE49-F238E27FC236}">
                <a16:creationId xmlns:a16="http://schemas.microsoft.com/office/drawing/2014/main" id="{E2FB5508-4F86-C685-2268-F6B56C9E3C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51183" y="3798842"/>
            <a:ext cx="821863" cy="433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897" tIns="46949" rIns="93897" bIns="46949" numCol="1" anchor="ctr" anchorCtr="0" compatLnSpc="1">
            <a:prstTxWarp prst="textNoShape">
              <a:avLst/>
            </a:prstTxWarp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162">
              <a:defRPr>
                <a:latin typeface="+mn-lt"/>
                <a:ea typeface="+mn-ea"/>
                <a:cs typeface="+mn-cs"/>
              </a:defRPr>
            </a:lvl2pPr>
            <a:lvl3pPr marL="914326">
              <a:defRPr>
                <a:latin typeface="+mn-lt"/>
                <a:ea typeface="+mn-ea"/>
                <a:cs typeface="+mn-cs"/>
              </a:defRPr>
            </a:lvl3pPr>
            <a:lvl4pPr marL="1371488">
              <a:defRPr>
                <a:latin typeface="+mn-lt"/>
                <a:ea typeface="+mn-ea"/>
                <a:cs typeface="+mn-cs"/>
              </a:defRPr>
            </a:lvl4pPr>
            <a:lvl5pPr marL="1828650">
              <a:defRPr>
                <a:latin typeface="+mn-lt"/>
                <a:ea typeface="+mn-ea"/>
                <a:cs typeface="+mn-cs"/>
              </a:defRPr>
            </a:lvl5pPr>
            <a:lvl6pPr marL="2285813">
              <a:defRPr>
                <a:latin typeface="+mn-lt"/>
                <a:ea typeface="+mn-ea"/>
                <a:cs typeface="+mn-cs"/>
              </a:defRPr>
            </a:lvl6pPr>
            <a:lvl7pPr marL="2742975">
              <a:defRPr>
                <a:latin typeface="+mn-lt"/>
                <a:ea typeface="+mn-ea"/>
                <a:cs typeface="+mn-cs"/>
              </a:defRPr>
            </a:lvl7pPr>
            <a:lvl8pPr marL="3200138">
              <a:defRPr>
                <a:latin typeface="+mn-lt"/>
                <a:ea typeface="+mn-ea"/>
                <a:cs typeface="+mn-cs"/>
              </a:defRPr>
            </a:lvl8pPr>
            <a:lvl9pPr marL="3657300">
              <a:defRPr>
                <a:latin typeface="+mn-lt"/>
                <a:ea typeface="+mn-ea"/>
                <a:cs typeface="+mn-cs"/>
              </a:defRPr>
            </a:lvl9pPr>
          </a:lstStyle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100" err="1">
                <a:solidFill>
                  <a:schemeClr val="tx1"/>
                </a:solidFill>
                <a:latin typeface="AP Type Pro Text Medium" panose="020B0604020202020204" charset="0"/>
              </a:rPr>
              <a:t>AfterPay</a:t>
            </a:r>
            <a:r>
              <a:rPr lang="en-US" altLang="en-US" sz="1100">
                <a:solidFill>
                  <a:schemeClr val="tx1"/>
                </a:solidFill>
                <a:latin typeface="AP Type Pro Text Medium" panose="020B0604020202020204" charset="0"/>
              </a:rPr>
              <a:t> Day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2C79424-6AC3-ACAF-B30A-6AFDC94D8827}"/>
              </a:ext>
            </a:extLst>
          </p:cNvPr>
          <p:cNvCxnSpPr>
            <a:cxnSpLocks/>
          </p:cNvCxnSpPr>
          <p:nvPr/>
        </p:nvCxnSpPr>
        <p:spPr>
          <a:xfrm flipV="1">
            <a:off x="6206777" y="3846564"/>
            <a:ext cx="0" cy="349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05767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object 6">
            <a:extLst>
              <a:ext uri="{FF2B5EF4-FFF2-40B4-BE49-F238E27FC236}">
                <a16:creationId xmlns:a16="http://schemas.microsoft.com/office/drawing/2014/main" id="{AB4A79B8-4FF4-2D35-C15E-A651FEAF35FD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854204" y="5200794"/>
            <a:ext cx="3641837" cy="1130593"/>
          </a:xfrm>
          <a:prstGeom prst="rect">
            <a:avLst/>
          </a:prstGeom>
        </p:spPr>
      </p:pic>
      <p:pic>
        <p:nvPicPr>
          <p:cNvPr id="14" name="Picture 13" descr="A person in a kitchen&#10;&#10;Description automatically generated">
            <a:extLst>
              <a:ext uri="{FF2B5EF4-FFF2-40B4-BE49-F238E27FC236}">
                <a16:creationId xmlns:a16="http://schemas.microsoft.com/office/drawing/2014/main" id="{46A1CF5F-516C-5D50-12D7-1BB036A3614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8" t="19989" r="39276" b="2238"/>
          <a:stretch/>
        </p:blipFill>
        <p:spPr>
          <a:xfrm>
            <a:off x="8377893" y="0"/>
            <a:ext cx="3815696" cy="6858000"/>
          </a:xfrm>
          <a:prstGeom prst="rect">
            <a:avLst/>
          </a:prstGeom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58033439-1827-3F86-D185-14C9E5B7882F}"/>
              </a:ext>
            </a:extLst>
          </p:cNvPr>
          <p:cNvGrpSpPr/>
          <p:nvPr/>
        </p:nvGrpSpPr>
        <p:grpSpPr>
          <a:xfrm>
            <a:off x="8667228" y="3603820"/>
            <a:ext cx="3219890" cy="2777167"/>
            <a:chOff x="8451850" y="3552825"/>
            <a:chExt cx="3135630" cy="2704494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14740DB0-921B-5E8E-B2C3-5219EF2BE443}"/>
                </a:ext>
              </a:extLst>
            </p:cNvPr>
            <p:cNvGrpSpPr/>
            <p:nvPr/>
          </p:nvGrpSpPr>
          <p:grpSpPr>
            <a:xfrm>
              <a:off x="8451850" y="3552825"/>
              <a:ext cx="3135630" cy="2704494"/>
              <a:chOff x="8094517" y="2931884"/>
              <a:chExt cx="3135630" cy="2704494"/>
            </a:xfrm>
          </p:grpSpPr>
          <p:sp>
            <p:nvSpPr>
              <p:cNvPr id="18" name="object 7">
                <a:extLst>
                  <a:ext uri="{FF2B5EF4-FFF2-40B4-BE49-F238E27FC236}">
                    <a16:creationId xmlns:a16="http://schemas.microsoft.com/office/drawing/2014/main" id="{2ECBCD18-770D-D4E8-2FE1-F07597578EBE}"/>
                  </a:ext>
                </a:extLst>
              </p:cNvPr>
              <p:cNvSpPr/>
              <p:nvPr/>
            </p:nvSpPr>
            <p:spPr>
              <a:xfrm>
                <a:off x="8094517" y="2931884"/>
                <a:ext cx="3135630" cy="2669540"/>
              </a:xfrm>
              <a:custGeom>
                <a:avLst/>
                <a:gdLst/>
                <a:ahLst/>
                <a:cxnLst/>
                <a:rect l="l" t="t" r="r" b="b"/>
                <a:pathLst>
                  <a:path w="3135629" h="1602739">
                    <a:moveTo>
                      <a:pt x="3088805" y="0"/>
                    </a:moveTo>
                    <a:lnTo>
                      <a:pt x="46799" y="0"/>
                    </a:lnTo>
                    <a:lnTo>
                      <a:pt x="28578" y="3034"/>
                    </a:lnTo>
                    <a:lnTo>
                      <a:pt x="13703" y="11309"/>
                    </a:lnTo>
                    <a:lnTo>
                      <a:pt x="3676" y="23585"/>
                    </a:lnTo>
                    <a:lnTo>
                      <a:pt x="0" y="38620"/>
                    </a:lnTo>
                    <a:lnTo>
                      <a:pt x="0" y="1563751"/>
                    </a:lnTo>
                    <a:lnTo>
                      <a:pt x="3676" y="1578786"/>
                    </a:lnTo>
                    <a:lnTo>
                      <a:pt x="13703" y="1591062"/>
                    </a:lnTo>
                    <a:lnTo>
                      <a:pt x="28578" y="1599337"/>
                    </a:lnTo>
                    <a:lnTo>
                      <a:pt x="46799" y="1602371"/>
                    </a:lnTo>
                    <a:lnTo>
                      <a:pt x="3088805" y="1602371"/>
                    </a:lnTo>
                    <a:lnTo>
                      <a:pt x="3107015" y="1599337"/>
                    </a:lnTo>
                    <a:lnTo>
                      <a:pt x="3121891" y="1591062"/>
                    </a:lnTo>
                    <a:lnTo>
                      <a:pt x="3131924" y="1578786"/>
                    </a:lnTo>
                    <a:lnTo>
                      <a:pt x="3135604" y="1563751"/>
                    </a:lnTo>
                    <a:lnTo>
                      <a:pt x="3135604" y="38620"/>
                    </a:lnTo>
                    <a:lnTo>
                      <a:pt x="3131924" y="23585"/>
                    </a:lnTo>
                    <a:lnTo>
                      <a:pt x="3121891" y="11309"/>
                    </a:lnTo>
                    <a:lnTo>
                      <a:pt x="3107015" y="3034"/>
                    </a:lnTo>
                    <a:lnTo>
                      <a:pt x="3088805" y="0"/>
                    </a:lnTo>
                    <a:close/>
                  </a:path>
                </a:pathLst>
              </a:custGeom>
              <a:solidFill>
                <a:srgbClr val="FCF2F5">
                  <a:alpha val="90000"/>
                </a:srgbClr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9" name="object 8">
                <a:extLst>
                  <a:ext uri="{FF2B5EF4-FFF2-40B4-BE49-F238E27FC236}">
                    <a16:creationId xmlns:a16="http://schemas.microsoft.com/office/drawing/2014/main" id="{2A026133-049F-E4DF-B9BC-F3F07D66B435}"/>
                  </a:ext>
                </a:extLst>
              </p:cNvPr>
              <p:cNvSpPr txBox="1"/>
              <p:nvPr/>
            </p:nvSpPr>
            <p:spPr>
              <a:xfrm>
                <a:off x="8671784" y="4336268"/>
                <a:ext cx="2000238" cy="491289"/>
              </a:xfrm>
              <a:prstGeom prst="rect">
                <a:avLst/>
              </a:prstGeom>
            </p:spPr>
            <p:txBody>
              <a:bodyPr vert="horz" wrap="square" lIns="0" tIns="14345" rIns="0" bIns="0" rtlCol="0">
                <a:spAutoFit/>
              </a:bodyPr>
              <a:lstStyle/>
              <a:p>
                <a:pPr marL="13042" algn="l">
                  <a:spcBef>
                    <a:spcPts val="113"/>
                  </a:spcBef>
                </a:pPr>
                <a:r>
                  <a:rPr lang="en-US" sz="1592" b="1">
                    <a:solidFill>
                      <a:srgbClr val="DC1928"/>
                    </a:solidFill>
                    <a:latin typeface="AP Type Pro Display Bold"/>
                    <a:cs typeface="AP Type Pro Display Bold"/>
                  </a:rPr>
                  <a:t>Online share of retail spend 2023:</a:t>
                </a:r>
                <a:endParaRPr sz="1592">
                  <a:latin typeface="AP Type Pro Display Regular"/>
                  <a:cs typeface="AP Type Pro Display Regular"/>
                </a:endParaRPr>
              </a:p>
            </p:txBody>
          </p:sp>
          <p:sp>
            <p:nvSpPr>
              <p:cNvPr id="31" name="object 10">
                <a:extLst>
                  <a:ext uri="{FF2B5EF4-FFF2-40B4-BE49-F238E27FC236}">
                    <a16:creationId xmlns:a16="http://schemas.microsoft.com/office/drawing/2014/main" id="{17D54109-1B7B-7F8C-795E-D98E59000AA7}"/>
                  </a:ext>
                </a:extLst>
              </p:cNvPr>
              <p:cNvSpPr txBox="1"/>
              <p:nvPr/>
            </p:nvSpPr>
            <p:spPr>
              <a:xfrm>
                <a:off x="8412156" y="4699327"/>
                <a:ext cx="2513191" cy="937051"/>
              </a:xfrm>
              <a:prstGeom prst="rect">
                <a:avLst/>
              </a:prstGeom>
            </p:spPr>
            <p:txBody>
              <a:bodyPr vert="horz" wrap="square" lIns="0" tIns="13041" rIns="0" bIns="0" rtlCol="0">
                <a:spAutoFit/>
              </a:bodyPr>
              <a:lstStyle/>
              <a:p>
                <a:pPr marL="13042" algn="ctr">
                  <a:spcBef>
                    <a:spcPts val="103"/>
                  </a:spcBef>
                </a:pPr>
                <a:r>
                  <a:rPr lang="en-US" sz="6006" b="1" spc="-10">
                    <a:solidFill>
                      <a:srgbClr val="DC1928"/>
                    </a:solidFill>
                    <a:latin typeface="AP Type Pro Display Bold"/>
                    <a:cs typeface="AP Type Pro Display Bold"/>
                  </a:rPr>
                  <a:t>16.8%</a:t>
                </a:r>
                <a:r>
                  <a:rPr lang="en-AU" sz="3851" b="1" spc="-15" baseline="57777">
                    <a:solidFill>
                      <a:srgbClr val="DC1928"/>
                    </a:solidFill>
                    <a:latin typeface="AP Type Pro Display Bold"/>
                    <a:cs typeface="AP Type Pro Display Bold"/>
                  </a:rPr>
                  <a:t>1</a:t>
                </a:r>
                <a:endParaRPr sz="3851">
                  <a:latin typeface="AP Type Pro Display Regular"/>
                  <a:cs typeface="AP Type Pro Display Regular"/>
                </a:endParaRPr>
              </a:p>
            </p:txBody>
          </p:sp>
        </p:grpSp>
        <p:graphicFrame>
          <p:nvGraphicFramePr>
            <p:cNvPr id="34" name="Chart 33">
              <a:extLst>
                <a:ext uri="{FF2B5EF4-FFF2-40B4-BE49-F238E27FC236}">
                  <a16:creationId xmlns:a16="http://schemas.microsoft.com/office/drawing/2014/main" id="{DB1726E6-48DC-75EB-8C1D-D1621742F2B9}"/>
                </a:ext>
              </a:extLst>
            </p:cNvPr>
            <p:cNvGraphicFramePr/>
            <p:nvPr/>
          </p:nvGraphicFramePr>
          <p:xfrm>
            <a:off x="8794750" y="3552825"/>
            <a:ext cx="2400300" cy="16002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</p:grpSp>
      <p:pic>
        <p:nvPicPr>
          <p:cNvPr id="37" name="Picture 36">
            <a:extLst>
              <a:ext uri="{FF2B5EF4-FFF2-40B4-BE49-F238E27FC236}">
                <a16:creationId xmlns:a16="http://schemas.microsoft.com/office/drawing/2014/main" id="{BBD10A52-9094-B70C-1764-3ACF29F4217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34777"/>
          <a:stretch/>
        </p:blipFill>
        <p:spPr>
          <a:xfrm>
            <a:off x="695804" y="2013755"/>
            <a:ext cx="7375556" cy="1837275"/>
          </a:xfrm>
          <a:prstGeom prst="rect">
            <a:avLst/>
          </a:prstGeom>
        </p:spPr>
      </p:pic>
      <p:sp>
        <p:nvSpPr>
          <p:cNvPr id="38" name="object 8">
            <a:extLst>
              <a:ext uri="{FF2B5EF4-FFF2-40B4-BE49-F238E27FC236}">
                <a16:creationId xmlns:a16="http://schemas.microsoft.com/office/drawing/2014/main" id="{B93F1BDA-3B50-BB5B-A471-E48A364D7C84}"/>
              </a:ext>
            </a:extLst>
          </p:cNvPr>
          <p:cNvSpPr txBox="1"/>
          <p:nvPr/>
        </p:nvSpPr>
        <p:spPr>
          <a:xfrm>
            <a:off x="872578" y="1700765"/>
            <a:ext cx="2660419" cy="266073"/>
          </a:xfrm>
          <a:prstGeom prst="rect">
            <a:avLst/>
          </a:prstGeom>
        </p:spPr>
        <p:txBody>
          <a:bodyPr vert="horz" wrap="square" lIns="0" tIns="14345" rIns="0" bIns="0" rtlCol="0">
            <a:spAutoFit/>
          </a:bodyPr>
          <a:lstStyle/>
          <a:p>
            <a:pPr marL="13042">
              <a:spcBef>
                <a:spcPts val="113"/>
              </a:spcBef>
            </a:pPr>
            <a:r>
              <a:rPr lang="en-US" sz="1592" b="1">
                <a:solidFill>
                  <a:srgbClr val="DC1928"/>
                </a:solidFill>
                <a:latin typeface="AP Type Pro Display Bold"/>
                <a:cs typeface="AP Type Pro Display Regular"/>
              </a:rPr>
              <a:t>Online share of retail spend</a:t>
            </a:r>
            <a:r>
              <a:rPr lang="en-AU" sz="1643" b="1" spc="-15" baseline="57777">
                <a:solidFill>
                  <a:srgbClr val="DC1928"/>
                </a:solidFill>
                <a:latin typeface="AP Type Pro Display Bold"/>
                <a:cs typeface="AP Type Pro Display Bold"/>
              </a:rPr>
              <a:t> </a:t>
            </a:r>
            <a:r>
              <a:rPr lang="en-AU" sz="1200" b="1" spc="-15" baseline="57777">
                <a:solidFill>
                  <a:srgbClr val="DC1928"/>
                </a:solidFill>
                <a:latin typeface="AP Type Pro Display Bold"/>
                <a:cs typeface="AP Type Pro Display Bold"/>
              </a:rPr>
              <a:t>1</a:t>
            </a:r>
            <a:r>
              <a:rPr lang="en-US" sz="1592" b="1">
                <a:solidFill>
                  <a:srgbClr val="DC1928"/>
                </a:solidFill>
                <a:latin typeface="AP Type Pro Display Bold"/>
                <a:cs typeface="AP Type Pro Display Regular"/>
              </a:rPr>
              <a:t> </a:t>
            </a:r>
            <a:endParaRPr sz="1592">
              <a:latin typeface="AP Type Pro Display Regular"/>
              <a:cs typeface="AP Type Pro Display Regular"/>
            </a:endParaRPr>
          </a:p>
        </p:txBody>
      </p:sp>
      <p:sp>
        <p:nvSpPr>
          <p:cNvPr id="52" name="object 8">
            <a:extLst>
              <a:ext uri="{FF2B5EF4-FFF2-40B4-BE49-F238E27FC236}">
                <a16:creationId xmlns:a16="http://schemas.microsoft.com/office/drawing/2014/main" id="{AF6E1DA5-F617-0F07-2BDB-8056482EA0F7}"/>
              </a:ext>
            </a:extLst>
          </p:cNvPr>
          <p:cNvSpPr txBox="1"/>
          <p:nvPr/>
        </p:nvSpPr>
        <p:spPr>
          <a:xfrm>
            <a:off x="2184415" y="5478146"/>
            <a:ext cx="2190933" cy="598580"/>
          </a:xfrm>
          <a:prstGeom prst="rect">
            <a:avLst/>
          </a:prstGeom>
        </p:spPr>
        <p:txBody>
          <a:bodyPr vert="horz" wrap="square" lIns="0" tIns="14345" rIns="0" bIns="0" rtlCol="0">
            <a:spAutoFit/>
          </a:bodyPr>
          <a:lstStyle/>
          <a:p>
            <a:pPr marL="13042">
              <a:spcBef>
                <a:spcPts val="113"/>
              </a:spcBef>
            </a:pPr>
            <a:r>
              <a:rPr lang="en-US" sz="1232" i="1">
                <a:solidFill>
                  <a:schemeClr val="tx1"/>
                </a:solidFill>
                <a:latin typeface="AP Type Pro Text Medium" panose="020B0604020202020204" charset="0"/>
                <a:cs typeface="AP Type Pro Display Bold"/>
              </a:rPr>
              <a:t>“During the height of the pandemic, 1 in 4 retail dollars was spent online”</a:t>
            </a:r>
            <a:endParaRPr sz="1232" i="1">
              <a:solidFill>
                <a:schemeClr val="tx1"/>
              </a:solidFill>
              <a:latin typeface="AP Type Pro Text Medium" panose="020B0604020202020204" charset="0"/>
              <a:cs typeface="AP Type Pro Display Regular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411108D-4887-10FC-7A3C-94DEAAFEBD9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70194" r="72107"/>
          <a:stretch/>
        </p:blipFill>
        <p:spPr>
          <a:xfrm>
            <a:off x="1112976" y="3944472"/>
            <a:ext cx="2057289" cy="83961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B6ADF7F-7947-2D4E-C2C2-F8584B88EFC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9992" t="70194" r="51107"/>
          <a:stretch/>
        </p:blipFill>
        <p:spPr>
          <a:xfrm>
            <a:off x="3163269" y="3944471"/>
            <a:ext cx="2131572" cy="83961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A5745F8-9650-7BB4-45A8-6D9B2CE346A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78014" t="70194" r="1865"/>
          <a:stretch/>
        </p:blipFill>
        <p:spPr>
          <a:xfrm>
            <a:off x="6643973" y="3944471"/>
            <a:ext cx="1484006" cy="83961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D68D406-6D9B-686D-33A8-240289C3F01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1673" t="69810" r="29359" b="384"/>
          <a:stretch/>
        </p:blipFill>
        <p:spPr>
          <a:xfrm>
            <a:off x="5293836" y="3933678"/>
            <a:ext cx="1398960" cy="839618"/>
          </a:xfrm>
          <a:prstGeom prst="rect">
            <a:avLst/>
          </a:prstGeom>
        </p:spPr>
      </p:pic>
      <p:sp>
        <p:nvSpPr>
          <p:cNvPr id="20" name="object 2">
            <a:extLst>
              <a:ext uri="{FF2B5EF4-FFF2-40B4-BE49-F238E27FC236}">
                <a16:creationId xmlns:a16="http://schemas.microsoft.com/office/drawing/2014/main" id="{D3641A52-328D-6F1F-F576-8E50CAB2A838}"/>
              </a:ext>
            </a:extLst>
          </p:cNvPr>
          <p:cNvSpPr txBox="1">
            <a:spLocks/>
          </p:cNvSpPr>
          <p:nvPr/>
        </p:nvSpPr>
        <p:spPr>
          <a:xfrm>
            <a:off x="809483" y="694535"/>
            <a:ext cx="6982372" cy="584741"/>
          </a:xfrm>
          <a:prstGeom prst="rect">
            <a:avLst/>
          </a:prstGeom>
        </p:spPr>
        <p:txBody>
          <a:bodyPr vert="horz" wrap="square" lIns="0" tIns="15650" rIns="0" bIns="0" rtlCol="0" anchor="t">
            <a:spAutoFit/>
          </a:bodyPr>
          <a:lstStyle>
            <a:lvl1pPr>
              <a:defRPr sz="4005" b="1" i="0">
                <a:solidFill>
                  <a:schemeClr val="bg1"/>
                </a:solidFill>
                <a:latin typeface="AP Type Pro Display Bold"/>
                <a:ea typeface="+mj-ea"/>
                <a:cs typeface="AP Type Pro Display Bold"/>
              </a:defRPr>
            </a:lvl1pPr>
          </a:lstStyle>
          <a:p>
            <a:pPr marL="12700"/>
            <a:r>
              <a:rPr lang="en-AU" sz="3697" b="0" spc="-26">
                <a:solidFill>
                  <a:srgbClr val="000000"/>
                </a:solidFill>
                <a:latin typeface="AP Type Pro Text Medium"/>
                <a:cs typeface="AP Type Pro Text Medium"/>
              </a:rPr>
              <a:t>Online shopping is here to stay </a:t>
            </a:r>
            <a:endParaRPr lang="en-AU" sz="3697" b="0">
              <a:latin typeface="AP Type Pro Text Medium"/>
              <a:cs typeface="AP Type Pro Text Medium"/>
            </a:endParaRPr>
          </a:p>
        </p:txBody>
      </p:sp>
      <p:sp>
        <p:nvSpPr>
          <p:cNvPr id="21" name="object 3">
            <a:extLst>
              <a:ext uri="{FF2B5EF4-FFF2-40B4-BE49-F238E27FC236}">
                <a16:creationId xmlns:a16="http://schemas.microsoft.com/office/drawing/2014/main" id="{5C287C5F-48D7-0AE7-BF70-D875ADAAAB0F}"/>
              </a:ext>
            </a:extLst>
          </p:cNvPr>
          <p:cNvSpPr txBox="1"/>
          <p:nvPr/>
        </p:nvSpPr>
        <p:spPr>
          <a:xfrm>
            <a:off x="843728" y="503014"/>
            <a:ext cx="1804221" cy="202772"/>
          </a:xfrm>
          <a:prstGeom prst="rect">
            <a:avLst/>
          </a:prstGeom>
        </p:spPr>
        <p:txBody>
          <a:bodyPr vert="horz" wrap="square" lIns="0" tIns="13041" rIns="0" bIns="0" rtlCol="0">
            <a:spAutoFit/>
          </a:bodyPr>
          <a:lstStyle/>
          <a:p>
            <a:pPr marL="13042">
              <a:spcBef>
                <a:spcPts val="103"/>
              </a:spcBef>
            </a:pPr>
            <a:r>
              <a:rPr sz="1232">
                <a:latin typeface="AP Type Pro Text Medium"/>
                <a:cs typeface="AP Type Pro Text Medium"/>
              </a:rPr>
              <a:t>State</a:t>
            </a:r>
            <a:r>
              <a:rPr sz="1232" spc="-31">
                <a:latin typeface="AP Type Pro Text Medium"/>
                <a:cs typeface="AP Type Pro Text Medium"/>
              </a:rPr>
              <a:t> </a:t>
            </a:r>
            <a:r>
              <a:rPr sz="1232">
                <a:latin typeface="AP Type Pro Text Medium"/>
                <a:cs typeface="AP Type Pro Text Medium"/>
              </a:rPr>
              <a:t>of</a:t>
            </a:r>
            <a:r>
              <a:rPr sz="1232" spc="-46">
                <a:latin typeface="AP Type Pro Text Medium"/>
                <a:cs typeface="AP Type Pro Text Medium"/>
              </a:rPr>
              <a:t> </a:t>
            </a:r>
            <a:r>
              <a:rPr lang="en-US" sz="1232" spc="-46">
                <a:latin typeface="AP Type Pro Text Medium"/>
                <a:cs typeface="AP Type Pro Text Medium"/>
              </a:rPr>
              <a:t>e</a:t>
            </a:r>
            <a:r>
              <a:rPr sz="1232" spc="-10">
                <a:latin typeface="AP Type Pro Text Medium"/>
                <a:cs typeface="AP Type Pro Text Medium"/>
              </a:rPr>
              <a:t>Commerce</a:t>
            </a:r>
            <a:endParaRPr sz="1232">
              <a:latin typeface="AP Type Pro Text Medium"/>
              <a:cs typeface="AP Type Pro Text Medium"/>
            </a:endParaRPr>
          </a:p>
        </p:txBody>
      </p:sp>
      <p:sp>
        <p:nvSpPr>
          <p:cNvPr id="22" name="object 4">
            <a:extLst>
              <a:ext uri="{FF2B5EF4-FFF2-40B4-BE49-F238E27FC236}">
                <a16:creationId xmlns:a16="http://schemas.microsoft.com/office/drawing/2014/main" id="{7ABFEAE5-BF33-FB15-F6E6-1004E65A0952}"/>
              </a:ext>
            </a:extLst>
          </p:cNvPr>
          <p:cNvSpPr/>
          <p:nvPr/>
        </p:nvSpPr>
        <p:spPr>
          <a:xfrm flipH="1">
            <a:off x="626214" y="571307"/>
            <a:ext cx="45719" cy="5751672"/>
          </a:xfrm>
          <a:custGeom>
            <a:avLst/>
            <a:gdLst/>
            <a:ahLst/>
            <a:cxnLst/>
            <a:rect l="l" t="t" r="r" b="b"/>
            <a:pathLst>
              <a:path h="6264275">
                <a:moveTo>
                  <a:pt x="0" y="0"/>
                </a:moveTo>
                <a:lnTo>
                  <a:pt x="0" y="6263995"/>
                </a:lnTo>
              </a:path>
            </a:pathLst>
          </a:custGeom>
          <a:ln w="12700">
            <a:solidFill>
              <a:srgbClr val="DC19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13">
            <a:extLst>
              <a:ext uri="{FF2B5EF4-FFF2-40B4-BE49-F238E27FC236}">
                <a16:creationId xmlns:a16="http://schemas.microsoft.com/office/drawing/2014/main" id="{8980A3F8-874B-D793-FE37-FC356432296B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8965436" y="6464889"/>
            <a:ext cx="2595864" cy="158681"/>
          </a:xfrm>
          <a:prstGeom prst="rect">
            <a:avLst/>
          </a:prstGeom>
        </p:spPr>
        <p:txBody>
          <a:bodyPr vert="horz" wrap="square" lIns="0" tIns="31951" rIns="0" bIns="0" rtlCol="0">
            <a:spAutoFit/>
          </a:bodyPr>
          <a:lstStyle/>
          <a:p>
            <a:pPr marL="13042">
              <a:spcBef>
                <a:spcPts val="252"/>
              </a:spcBef>
            </a:pPr>
            <a:r>
              <a:rPr>
                <a:solidFill>
                  <a:schemeClr val="bg1"/>
                </a:solidFill>
              </a:rPr>
              <a:t>Inside</a:t>
            </a:r>
            <a:r>
              <a:rPr spc="-21">
                <a:solidFill>
                  <a:schemeClr val="bg1"/>
                </a:solidFill>
              </a:rPr>
              <a:t> </a:t>
            </a:r>
            <a:r>
              <a:rPr spc="-10">
                <a:solidFill>
                  <a:schemeClr val="bg1"/>
                </a:solidFill>
              </a:rPr>
              <a:t>Australian</a:t>
            </a:r>
            <a:r>
              <a:rPr>
                <a:solidFill>
                  <a:schemeClr val="bg1"/>
                </a:solidFill>
              </a:rPr>
              <a:t> Online</a:t>
            </a:r>
            <a:r>
              <a:rPr spc="5">
                <a:solidFill>
                  <a:schemeClr val="bg1"/>
                </a:solidFill>
              </a:rPr>
              <a:t> </a:t>
            </a:r>
            <a:r>
              <a:rPr>
                <a:solidFill>
                  <a:schemeClr val="bg1"/>
                </a:solidFill>
              </a:rPr>
              <a:t>Shopping</a:t>
            </a:r>
            <a:r>
              <a:rPr spc="288">
                <a:solidFill>
                  <a:schemeClr val="bg1"/>
                </a:solidFill>
              </a:rPr>
              <a:t> </a:t>
            </a:r>
            <a:r>
              <a:rPr>
                <a:solidFill>
                  <a:srgbClr val="DC1928"/>
                </a:solidFill>
              </a:rPr>
              <a:t>|</a:t>
            </a:r>
            <a:r>
              <a:rPr spc="267">
                <a:solidFill>
                  <a:srgbClr val="DC1928"/>
                </a:solidFill>
              </a:rPr>
              <a:t> </a:t>
            </a:r>
            <a:r>
              <a:rPr spc="-10">
                <a:solidFill>
                  <a:schemeClr val="bg1"/>
                </a:solidFill>
              </a:rPr>
              <a:t>Australia</a:t>
            </a:r>
            <a:r>
              <a:rPr>
                <a:solidFill>
                  <a:schemeClr val="bg1"/>
                </a:solidFill>
              </a:rPr>
              <a:t> Post</a:t>
            </a:r>
            <a:r>
              <a:rPr spc="288">
                <a:solidFill>
                  <a:schemeClr val="bg1"/>
                </a:solidFill>
              </a:rPr>
              <a:t> </a:t>
            </a:r>
            <a:r>
              <a:rPr>
                <a:solidFill>
                  <a:srgbClr val="DC1928"/>
                </a:solidFill>
              </a:rPr>
              <a:t>|</a:t>
            </a:r>
            <a:r>
              <a:rPr spc="293">
                <a:solidFill>
                  <a:srgbClr val="DC1928"/>
                </a:solidFill>
              </a:rPr>
              <a:t> </a:t>
            </a:r>
            <a:r>
              <a:rPr spc="-21">
                <a:solidFill>
                  <a:schemeClr val="bg1"/>
                </a:solidFill>
              </a:rPr>
              <a:t>2024</a:t>
            </a:r>
          </a:p>
        </p:txBody>
      </p:sp>
      <p:sp>
        <p:nvSpPr>
          <p:cNvPr id="26" name="object 15">
            <a:extLst>
              <a:ext uri="{FF2B5EF4-FFF2-40B4-BE49-F238E27FC236}">
                <a16:creationId xmlns:a16="http://schemas.microsoft.com/office/drawing/2014/main" id="{984ED489-5C1E-6A51-94FA-5557877CF70E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11722251" y="6446096"/>
            <a:ext cx="219092" cy="195554"/>
          </a:xfrm>
          <a:prstGeom prst="rect">
            <a:avLst/>
          </a:prstGeom>
        </p:spPr>
        <p:txBody>
          <a:bodyPr vert="horz" wrap="square" lIns="0" tIns="37168" rIns="0" bIns="0" rtlCol="0">
            <a:spAutoFit/>
          </a:bodyPr>
          <a:lstStyle/>
          <a:p>
            <a:pPr marL="39123">
              <a:spcBef>
                <a:spcPts val="293"/>
              </a:spcBef>
            </a:pPr>
            <a:fld id="{81D60167-4931-47E6-BA6A-407CBD079E47}" type="slidenum">
              <a:rPr spc="-26" dirty="0">
                <a:solidFill>
                  <a:schemeClr val="bg1"/>
                </a:solidFill>
              </a:rPr>
              <a:pPr marL="39123">
                <a:spcBef>
                  <a:spcPts val="293"/>
                </a:spcBef>
              </a:pPr>
              <a:t>4</a:t>
            </a:fld>
            <a:endParaRPr spc="-26">
              <a:solidFill>
                <a:schemeClr val="bg1"/>
              </a:solidFill>
            </a:endParaRPr>
          </a:p>
        </p:txBody>
      </p:sp>
      <p:sp>
        <p:nvSpPr>
          <p:cNvPr id="27" name="object 6">
            <a:extLst>
              <a:ext uri="{FF2B5EF4-FFF2-40B4-BE49-F238E27FC236}">
                <a16:creationId xmlns:a16="http://schemas.microsoft.com/office/drawing/2014/main" id="{F0B8C11F-210D-576C-569A-D58EEF36B814}"/>
              </a:ext>
            </a:extLst>
          </p:cNvPr>
          <p:cNvSpPr txBox="1"/>
          <p:nvPr/>
        </p:nvSpPr>
        <p:spPr>
          <a:xfrm>
            <a:off x="874268" y="6419256"/>
            <a:ext cx="6917587" cy="171246"/>
          </a:xfrm>
          <a:prstGeom prst="rect">
            <a:avLst/>
          </a:prstGeom>
        </p:spPr>
        <p:txBody>
          <a:bodyPr vert="horz" wrap="square" lIns="0" tIns="59989" rIns="0" bIns="0" rtlCol="0">
            <a:spAutoFit/>
          </a:bodyPr>
          <a:lstStyle>
            <a:defPPr>
              <a:defRPr kern="0"/>
            </a:defPPr>
            <a:lvl1pPr marL="13040">
              <a:spcBef>
                <a:spcPts val="471"/>
              </a:spcBef>
              <a:tabLst>
                <a:tab pos="117364" algn="l"/>
              </a:tabLst>
              <a:defRPr sz="719" spc="-10">
                <a:latin typeface="AP Type Pro Text Light"/>
                <a:cs typeface="AP Type Pro Text Light"/>
              </a:defRPr>
            </a:lvl1pPr>
          </a:lstStyle>
          <a:p>
            <a:r>
              <a:rPr lang="en-AU"/>
              <a:t>1. Online Retail Turnover Non-Food; Retail turnover (seasonally adjusted) minus Cafes, restaurants &amp; takeaway and Food retailing, ABS, Jan 2024.</a:t>
            </a:r>
          </a:p>
        </p:txBody>
      </p:sp>
    </p:spTree>
    <p:extLst>
      <p:ext uri="{BB962C8B-B14F-4D97-AF65-F5344CB8AC3E}">
        <p14:creationId xmlns:p14="http://schemas.microsoft.com/office/powerpoint/2010/main" val="28287220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6CEC5D39-CFAF-C881-2BBC-0598F07758F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91439483"/>
              </p:ext>
            </p:extLst>
          </p:nvPr>
        </p:nvGraphicFramePr>
        <p:xfrm>
          <a:off x="7896453" y="762371"/>
          <a:ext cx="2202092" cy="12118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9" name="Chart 58">
            <a:extLst>
              <a:ext uri="{FF2B5EF4-FFF2-40B4-BE49-F238E27FC236}">
                <a16:creationId xmlns:a16="http://schemas.microsoft.com/office/drawing/2014/main" id="{70F7B58F-1153-CDAE-CB59-B4B29174A2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2548947"/>
              </p:ext>
            </p:extLst>
          </p:nvPr>
        </p:nvGraphicFramePr>
        <p:xfrm>
          <a:off x="9606635" y="757924"/>
          <a:ext cx="2202092" cy="12118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4" name="Chart 33">
            <a:extLst>
              <a:ext uri="{FF2B5EF4-FFF2-40B4-BE49-F238E27FC236}">
                <a16:creationId xmlns:a16="http://schemas.microsoft.com/office/drawing/2014/main" id="{7D901E24-03A1-D272-0D7B-A44C4ADE184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88870767"/>
              </p:ext>
            </p:extLst>
          </p:nvPr>
        </p:nvGraphicFramePr>
        <p:xfrm>
          <a:off x="8739264" y="762371"/>
          <a:ext cx="2202092" cy="12118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35" name="object 35"/>
          <p:cNvGrpSpPr/>
          <p:nvPr/>
        </p:nvGrpSpPr>
        <p:grpSpPr>
          <a:xfrm>
            <a:off x="1001507" y="1786652"/>
            <a:ext cx="507957" cy="1185065"/>
            <a:chOff x="975297" y="3503700"/>
            <a:chExt cx="494665" cy="1154054"/>
          </a:xfrm>
        </p:grpSpPr>
        <p:pic>
          <p:nvPicPr>
            <p:cNvPr id="36" name="object 36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067892" y="3503700"/>
              <a:ext cx="321653" cy="502989"/>
            </a:xfrm>
            <a:prstGeom prst="rect">
              <a:avLst/>
            </a:prstGeom>
          </p:spPr>
        </p:pic>
        <p:sp>
          <p:nvSpPr>
            <p:cNvPr id="37" name="object 37"/>
            <p:cNvSpPr/>
            <p:nvPr/>
          </p:nvSpPr>
          <p:spPr>
            <a:xfrm>
              <a:off x="975297" y="3691285"/>
              <a:ext cx="494665" cy="966469"/>
            </a:xfrm>
            <a:custGeom>
              <a:avLst/>
              <a:gdLst/>
              <a:ahLst/>
              <a:cxnLst/>
              <a:rect l="l" t="t" r="r" b="b"/>
              <a:pathLst>
                <a:path w="494665" h="966470">
                  <a:moveTo>
                    <a:pt x="407898" y="159118"/>
                  </a:moveTo>
                  <a:lnTo>
                    <a:pt x="399372" y="195832"/>
                  </a:lnTo>
                  <a:lnTo>
                    <a:pt x="376269" y="220448"/>
                  </a:lnTo>
                  <a:lnTo>
                    <a:pt x="352327" y="234265"/>
                  </a:lnTo>
                  <a:lnTo>
                    <a:pt x="341287" y="238582"/>
                  </a:lnTo>
                  <a:lnTo>
                    <a:pt x="345256" y="254934"/>
                  </a:lnTo>
                  <a:lnTo>
                    <a:pt x="351607" y="268104"/>
                  </a:lnTo>
                  <a:lnTo>
                    <a:pt x="360409" y="278724"/>
                  </a:lnTo>
                  <a:lnTo>
                    <a:pt x="371729" y="287426"/>
                  </a:lnTo>
                  <a:lnTo>
                    <a:pt x="405091" y="280885"/>
                  </a:lnTo>
                  <a:lnTo>
                    <a:pt x="371729" y="287426"/>
                  </a:lnTo>
                  <a:lnTo>
                    <a:pt x="373456" y="288518"/>
                  </a:lnTo>
                  <a:lnTo>
                    <a:pt x="375234" y="289585"/>
                  </a:lnTo>
                  <a:lnTo>
                    <a:pt x="377113" y="290614"/>
                  </a:lnTo>
                  <a:lnTo>
                    <a:pt x="378955" y="309054"/>
                  </a:lnTo>
                  <a:lnTo>
                    <a:pt x="283629" y="309054"/>
                  </a:lnTo>
                  <a:lnTo>
                    <a:pt x="167982" y="309054"/>
                  </a:lnTo>
                  <a:lnTo>
                    <a:pt x="169824" y="291782"/>
                  </a:lnTo>
                  <a:lnTo>
                    <a:pt x="87617" y="279768"/>
                  </a:lnTo>
                  <a:lnTo>
                    <a:pt x="169824" y="291782"/>
                  </a:lnTo>
                  <a:lnTo>
                    <a:pt x="186735" y="285264"/>
                  </a:lnTo>
                  <a:lnTo>
                    <a:pt x="199890" y="273781"/>
                  </a:lnTo>
                  <a:lnTo>
                    <a:pt x="209041" y="256787"/>
                  </a:lnTo>
                  <a:lnTo>
                    <a:pt x="213944" y="233730"/>
                  </a:lnTo>
                  <a:lnTo>
                    <a:pt x="201763" y="233180"/>
                  </a:lnTo>
                  <a:lnTo>
                    <a:pt x="173647" y="229493"/>
                  </a:lnTo>
                  <a:lnTo>
                    <a:pt x="140122" y="219597"/>
                  </a:lnTo>
                  <a:lnTo>
                    <a:pt x="111712" y="200418"/>
                  </a:lnTo>
                  <a:lnTo>
                    <a:pt x="98945" y="168883"/>
                  </a:lnTo>
                  <a:lnTo>
                    <a:pt x="112344" y="121920"/>
                  </a:lnTo>
                </a:path>
                <a:path w="494665" h="966470">
                  <a:moveTo>
                    <a:pt x="256857" y="55156"/>
                  </a:moveTo>
                  <a:lnTo>
                    <a:pt x="254714" y="68818"/>
                  </a:lnTo>
                  <a:lnTo>
                    <a:pt x="255117" y="82894"/>
                  </a:lnTo>
                  <a:lnTo>
                    <a:pt x="255082" y="96820"/>
                  </a:lnTo>
                  <a:lnTo>
                    <a:pt x="251625" y="110032"/>
                  </a:lnTo>
                  <a:lnTo>
                    <a:pt x="249212" y="115011"/>
                  </a:lnTo>
                  <a:lnTo>
                    <a:pt x="245351" y="119354"/>
                  </a:lnTo>
                  <a:lnTo>
                    <a:pt x="240601" y="122580"/>
                  </a:lnTo>
                  <a:lnTo>
                    <a:pt x="241198" y="123507"/>
                  </a:lnTo>
                  <a:lnTo>
                    <a:pt x="241566" y="124561"/>
                  </a:lnTo>
                  <a:lnTo>
                    <a:pt x="241566" y="125717"/>
                  </a:lnTo>
                  <a:lnTo>
                    <a:pt x="241566" y="129070"/>
                  </a:lnTo>
                  <a:lnTo>
                    <a:pt x="238607" y="131800"/>
                  </a:lnTo>
                  <a:lnTo>
                    <a:pt x="234962" y="131800"/>
                  </a:lnTo>
                  <a:lnTo>
                    <a:pt x="231317" y="131800"/>
                  </a:lnTo>
                  <a:lnTo>
                    <a:pt x="228371" y="129070"/>
                  </a:lnTo>
                  <a:lnTo>
                    <a:pt x="228371" y="125717"/>
                  </a:lnTo>
                  <a:lnTo>
                    <a:pt x="228371" y="122351"/>
                  </a:lnTo>
                  <a:lnTo>
                    <a:pt x="231317" y="119634"/>
                  </a:lnTo>
                  <a:lnTo>
                    <a:pt x="234962" y="119634"/>
                  </a:lnTo>
                  <a:lnTo>
                    <a:pt x="235597" y="119634"/>
                  </a:lnTo>
                  <a:lnTo>
                    <a:pt x="236194" y="119735"/>
                  </a:lnTo>
                  <a:lnTo>
                    <a:pt x="236778" y="119888"/>
                  </a:lnTo>
                </a:path>
                <a:path w="494665" h="966470">
                  <a:moveTo>
                    <a:pt x="285750" y="55156"/>
                  </a:moveTo>
                  <a:lnTo>
                    <a:pt x="273469" y="64465"/>
                  </a:lnTo>
                  <a:lnTo>
                    <a:pt x="228624" y="37314"/>
                  </a:lnTo>
                  <a:lnTo>
                    <a:pt x="203271" y="22093"/>
                  </a:lnTo>
                  <a:lnTo>
                    <a:pt x="188045" y="13246"/>
                  </a:lnTo>
                  <a:lnTo>
                    <a:pt x="173583" y="5219"/>
                  </a:lnTo>
                  <a:lnTo>
                    <a:pt x="117995" y="21056"/>
                  </a:lnTo>
                  <a:lnTo>
                    <a:pt x="80958" y="52094"/>
                  </a:lnTo>
                  <a:lnTo>
                    <a:pt x="41194" y="94283"/>
                  </a:lnTo>
                  <a:lnTo>
                    <a:pt x="10328" y="142412"/>
                  </a:lnTo>
                  <a:lnTo>
                    <a:pt x="0" y="191274"/>
                  </a:lnTo>
                  <a:lnTo>
                    <a:pt x="10279" y="225002"/>
                  </a:lnTo>
                  <a:lnTo>
                    <a:pt x="31626" y="250204"/>
                  </a:lnTo>
                  <a:lnTo>
                    <a:pt x="59064" y="268064"/>
                  </a:lnTo>
                  <a:lnTo>
                    <a:pt x="87617" y="279768"/>
                  </a:lnTo>
                  <a:lnTo>
                    <a:pt x="84759" y="293878"/>
                  </a:lnTo>
                  <a:lnTo>
                    <a:pt x="85698" y="309726"/>
                  </a:lnTo>
                  <a:lnTo>
                    <a:pt x="94059" y="323159"/>
                  </a:lnTo>
                  <a:lnTo>
                    <a:pt x="108159" y="332470"/>
                  </a:lnTo>
                  <a:lnTo>
                    <a:pt x="126314" y="335953"/>
                  </a:lnTo>
                  <a:lnTo>
                    <a:pt x="131533" y="335953"/>
                  </a:lnTo>
                  <a:lnTo>
                    <a:pt x="360438" y="335953"/>
                  </a:lnTo>
                  <a:lnTo>
                    <a:pt x="365721" y="335953"/>
                  </a:lnTo>
                  <a:lnTo>
                    <a:pt x="383590" y="332582"/>
                  </a:lnTo>
                  <a:lnTo>
                    <a:pt x="397589" y="323542"/>
                  </a:lnTo>
                  <a:lnTo>
                    <a:pt x="406087" y="310439"/>
                  </a:lnTo>
                  <a:lnTo>
                    <a:pt x="407454" y="294881"/>
                  </a:lnTo>
                  <a:lnTo>
                    <a:pt x="405091" y="280885"/>
                  </a:lnTo>
                  <a:lnTo>
                    <a:pt x="435157" y="269858"/>
                  </a:lnTo>
                  <a:lnTo>
                    <a:pt x="464291" y="253482"/>
                  </a:lnTo>
                  <a:lnTo>
                    <a:pt x="486078" y="231043"/>
                  </a:lnTo>
                  <a:lnTo>
                    <a:pt x="494106" y="201828"/>
                  </a:lnTo>
                  <a:lnTo>
                    <a:pt x="479686" y="152281"/>
                  </a:lnTo>
                  <a:lnTo>
                    <a:pt x="446747" y="107102"/>
                  </a:lnTo>
                  <a:lnTo>
                    <a:pt x="406170" y="69147"/>
                  </a:lnTo>
                  <a:lnTo>
                    <a:pt x="368833" y="41275"/>
                  </a:lnTo>
                  <a:lnTo>
                    <a:pt x="333006" y="19316"/>
                  </a:lnTo>
                  <a:lnTo>
                    <a:pt x="285750" y="55156"/>
                  </a:lnTo>
                  <a:lnTo>
                    <a:pt x="290449" y="57658"/>
                  </a:lnTo>
                  <a:lnTo>
                    <a:pt x="293573" y="62166"/>
                  </a:lnTo>
                  <a:lnTo>
                    <a:pt x="295148" y="66954"/>
                  </a:lnTo>
                  <a:lnTo>
                    <a:pt x="296710" y="71742"/>
                  </a:lnTo>
                  <a:lnTo>
                    <a:pt x="296875" y="76809"/>
                  </a:lnTo>
                  <a:lnTo>
                    <a:pt x="296786" y="81800"/>
                  </a:lnTo>
                </a:path>
                <a:path w="494665" h="966470">
                  <a:moveTo>
                    <a:pt x="302056" y="128003"/>
                  </a:moveTo>
                  <a:lnTo>
                    <a:pt x="302831" y="127711"/>
                  </a:lnTo>
                  <a:lnTo>
                    <a:pt x="303682" y="127546"/>
                  </a:lnTo>
                  <a:lnTo>
                    <a:pt x="304571" y="127546"/>
                  </a:lnTo>
                  <a:lnTo>
                    <a:pt x="308216" y="127546"/>
                  </a:lnTo>
                  <a:lnTo>
                    <a:pt x="311162" y="130276"/>
                  </a:lnTo>
                  <a:lnTo>
                    <a:pt x="311162" y="133629"/>
                  </a:lnTo>
                  <a:lnTo>
                    <a:pt x="311162" y="136982"/>
                  </a:lnTo>
                  <a:lnTo>
                    <a:pt x="308216" y="139712"/>
                  </a:lnTo>
                  <a:lnTo>
                    <a:pt x="304571" y="139712"/>
                  </a:lnTo>
                  <a:lnTo>
                    <a:pt x="300926" y="139712"/>
                  </a:lnTo>
                  <a:lnTo>
                    <a:pt x="297967" y="136982"/>
                  </a:lnTo>
                  <a:lnTo>
                    <a:pt x="297967" y="133629"/>
                  </a:lnTo>
                  <a:lnTo>
                    <a:pt x="297967" y="131457"/>
                  </a:lnTo>
                  <a:lnTo>
                    <a:pt x="299212" y="129565"/>
                  </a:lnTo>
                  <a:lnTo>
                    <a:pt x="301066" y="128498"/>
                  </a:lnTo>
                  <a:lnTo>
                    <a:pt x="298533" y="122102"/>
                  </a:lnTo>
                  <a:lnTo>
                    <a:pt x="297014" y="115422"/>
                  </a:lnTo>
                  <a:lnTo>
                    <a:pt x="296287" y="108530"/>
                  </a:lnTo>
                  <a:lnTo>
                    <a:pt x="296125" y="101498"/>
                  </a:lnTo>
                </a:path>
                <a:path w="494665" h="966470">
                  <a:moveTo>
                    <a:pt x="49187" y="856945"/>
                  </a:moveTo>
                  <a:lnTo>
                    <a:pt x="48056" y="864120"/>
                  </a:lnTo>
                  <a:lnTo>
                    <a:pt x="51346" y="870839"/>
                  </a:lnTo>
                  <a:lnTo>
                    <a:pt x="57035" y="874915"/>
                  </a:lnTo>
                  <a:lnTo>
                    <a:pt x="51155" y="908900"/>
                  </a:lnTo>
                  <a:lnTo>
                    <a:pt x="57569" y="908900"/>
                  </a:lnTo>
                  <a:lnTo>
                    <a:pt x="113131" y="908900"/>
                  </a:lnTo>
                  <a:lnTo>
                    <a:pt x="119443" y="908900"/>
                  </a:lnTo>
                  <a:lnTo>
                    <a:pt x="123710" y="878128"/>
                  </a:lnTo>
                  <a:lnTo>
                    <a:pt x="130835" y="876122"/>
                  </a:lnTo>
                  <a:lnTo>
                    <a:pt x="136436" y="870686"/>
                  </a:lnTo>
                  <a:lnTo>
                    <a:pt x="138036" y="863676"/>
                  </a:lnTo>
                  <a:lnTo>
                    <a:pt x="242023" y="406692"/>
                  </a:lnTo>
                  <a:lnTo>
                    <a:pt x="261797" y="858951"/>
                  </a:lnTo>
                  <a:lnTo>
                    <a:pt x="261975" y="866648"/>
                  </a:lnTo>
                  <a:lnTo>
                    <a:pt x="267195" y="873175"/>
                  </a:lnTo>
                  <a:lnTo>
                    <a:pt x="274485" y="875880"/>
                  </a:lnTo>
                  <a:lnTo>
                    <a:pt x="273354" y="908900"/>
                  </a:lnTo>
                  <a:lnTo>
                    <a:pt x="280200" y="908900"/>
                  </a:lnTo>
                  <a:lnTo>
                    <a:pt x="332282" y="908900"/>
                  </a:lnTo>
                  <a:lnTo>
                    <a:pt x="338480" y="908900"/>
                  </a:lnTo>
                  <a:lnTo>
                    <a:pt x="339623" y="875982"/>
                  </a:lnTo>
                  <a:lnTo>
                    <a:pt x="348411" y="873988"/>
                  </a:lnTo>
                  <a:lnTo>
                    <a:pt x="354939" y="866724"/>
                  </a:lnTo>
                  <a:lnTo>
                    <a:pt x="355041" y="858024"/>
                  </a:lnTo>
                  <a:lnTo>
                    <a:pt x="360438" y="335953"/>
                  </a:lnTo>
                  <a:lnTo>
                    <a:pt x="131533" y="335953"/>
                  </a:lnTo>
                  <a:lnTo>
                    <a:pt x="49187" y="856945"/>
                  </a:lnTo>
                  <a:close/>
                </a:path>
                <a:path w="494665" h="966470">
                  <a:moveTo>
                    <a:pt x="55308" y="922261"/>
                  </a:moveTo>
                  <a:lnTo>
                    <a:pt x="112953" y="924471"/>
                  </a:lnTo>
                  <a:lnTo>
                    <a:pt x="113131" y="908900"/>
                  </a:lnTo>
                  <a:lnTo>
                    <a:pt x="57569" y="908900"/>
                  </a:lnTo>
                  <a:lnTo>
                    <a:pt x="55308" y="922261"/>
                  </a:lnTo>
                  <a:close/>
                </a:path>
                <a:path w="494665" h="966470">
                  <a:moveTo>
                    <a:pt x="279184" y="920889"/>
                  </a:moveTo>
                  <a:lnTo>
                    <a:pt x="332105" y="923086"/>
                  </a:lnTo>
                  <a:lnTo>
                    <a:pt x="332282" y="908900"/>
                  </a:lnTo>
                  <a:lnTo>
                    <a:pt x="280200" y="908900"/>
                  </a:lnTo>
                  <a:lnTo>
                    <a:pt x="279184" y="920889"/>
                  </a:lnTo>
                  <a:close/>
                </a:path>
                <a:path w="494665" h="966470">
                  <a:moveTo>
                    <a:pt x="46761" y="965987"/>
                  </a:moveTo>
                  <a:lnTo>
                    <a:pt x="163842" y="965987"/>
                  </a:lnTo>
                  <a:lnTo>
                    <a:pt x="149681" y="943828"/>
                  </a:lnTo>
                  <a:lnTo>
                    <a:pt x="132878" y="931298"/>
                  </a:lnTo>
                  <a:lnTo>
                    <a:pt x="118835" y="925734"/>
                  </a:lnTo>
                  <a:lnTo>
                    <a:pt x="112953" y="924471"/>
                  </a:lnTo>
                  <a:lnTo>
                    <a:pt x="55308" y="922274"/>
                  </a:lnTo>
                  <a:lnTo>
                    <a:pt x="46761" y="965987"/>
                  </a:lnTo>
                  <a:close/>
                </a:path>
                <a:path w="494665" h="966470">
                  <a:moveTo>
                    <a:pt x="275996" y="965987"/>
                  </a:moveTo>
                  <a:lnTo>
                    <a:pt x="415112" y="965987"/>
                  </a:lnTo>
                  <a:lnTo>
                    <a:pt x="396800" y="937151"/>
                  </a:lnTo>
                  <a:lnTo>
                    <a:pt x="368860" y="924863"/>
                  </a:lnTo>
                  <a:lnTo>
                    <a:pt x="343294" y="922412"/>
                  </a:lnTo>
                  <a:lnTo>
                    <a:pt x="332105" y="923086"/>
                  </a:lnTo>
                  <a:lnTo>
                    <a:pt x="279184" y="920889"/>
                  </a:lnTo>
                  <a:lnTo>
                    <a:pt x="275996" y="965987"/>
                  </a:lnTo>
                  <a:close/>
                </a:path>
                <a:path w="494665" h="966470">
                  <a:moveTo>
                    <a:pt x="226123" y="0"/>
                  </a:moveTo>
                  <a:lnTo>
                    <a:pt x="229235" y="2870"/>
                  </a:lnTo>
                  <a:lnTo>
                    <a:pt x="226123" y="0"/>
                  </a:lnTo>
                  <a:close/>
                </a:path>
              </a:pathLst>
            </a:custGeom>
            <a:ln w="12700">
              <a:solidFill>
                <a:srgbClr val="DC192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47" name="object 47"/>
          <p:cNvGrpSpPr/>
          <p:nvPr/>
        </p:nvGrpSpPr>
        <p:grpSpPr>
          <a:xfrm>
            <a:off x="8878409" y="1770254"/>
            <a:ext cx="427556" cy="1254130"/>
            <a:chOff x="8646903" y="3473042"/>
            <a:chExt cx="416407" cy="1221307"/>
          </a:xfrm>
        </p:grpSpPr>
        <p:sp>
          <p:nvSpPr>
            <p:cNvPr id="48" name="object 48"/>
            <p:cNvSpPr/>
            <p:nvPr/>
          </p:nvSpPr>
          <p:spPr>
            <a:xfrm>
              <a:off x="8754573" y="3776724"/>
              <a:ext cx="1905" cy="38100"/>
            </a:xfrm>
            <a:custGeom>
              <a:avLst/>
              <a:gdLst/>
              <a:ahLst/>
              <a:cxnLst/>
              <a:rect l="l" t="t" r="r" b="b"/>
              <a:pathLst>
                <a:path w="1904" h="38100">
                  <a:moveTo>
                    <a:pt x="0" y="0"/>
                  </a:moveTo>
                  <a:lnTo>
                    <a:pt x="1308" y="38023"/>
                  </a:lnTo>
                </a:path>
              </a:pathLst>
            </a:custGeom>
            <a:ln w="12700">
              <a:solidFill>
                <a:srgbClr val="5C94B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9" name="object 49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781154" y="3527677"/>
              <a:ext cx="145834" cy="293420"/>
            </a:xfrm>
            <a:prstGeom prst="rect">
              <a:avLst/>
            </a:prstGeom>
          </p:spPr>
        </p:pic>
        <p:sp>
          <p:nvSpPr>
            <p:cNvPr id="50" name="object 50"/>
            <p:cNvSpPr/>
            <p:nvPr/>
          </p:nvSpPr>
          <p:spPr>
            <a:xfrm>
              <a:off x="8700179" y="3812843"/>
              <a:ext cx="281940" cy="278130"/>
            </a:xfrm>
            <a:custGeom>
              <a:avLst/>
              <a:gdLst/>
              <a:ahLst/>
              <a:cxnLst/>
              <a:rect l="l" t="t" r="r" b="b"/>
              <a:pathLst>
                <a:path w="281940" h="278129">
                  <a:moveTo>
                    <a:pt x="151396" y="237172"/>
                  </a:moveTo>
                  <a:lnTo>
                    <a:pt x="141376" y="222338"/>
                  </a:lnTo>
                  <a:lnTo>
                    <a:pt x="140881" y="217258"/>
                  </a:lnTo>
                  <a:lnTo>
                    <a:pt x="140614" y="214477"/>
                  </a:lnTo>
                  <a:lnTo>
                    <a:pt x="140589" y="214223"/>
                  </a:lnTo>
                  <a:lnTo>
                    <a:pt x="140563" y="213982"/>
                  </a:lnTo>
                  <a:lnTo>
                    <a:pt x="140538" y="213753"/>
                  </a:lnTo>
                  <a:lnTo>
                    <a:pt x="143446" y="213461"/>
                  </a:lnTo>
                  <a:lnTo>
                    <a:pt x="145897" y="215036"/>
                  </a:lnTo>
                  <a:lnTo>
                    <a:pt x="148501" y="216700"/>
                  </a:lnTo>
                  <a:lnTo>
                    <a:pt x="150393" y="217919"/>
                  </a:lnTo>
                  <a:lnTo>
                    <a:pt x="152361" y="219176"/>
                  </a:lnTo>
                  <a:lnTo>
                    <a:pt x="154647" y="219811"/>
                  </a:lnTo>
                  <a:lnTo>
                    <a:pt x="160411" y="220363"/>
                  </a:lnTo>
                  <a:lnTo>
                    <a:pt x="165288" y="219205"/>
                  </a:lnTo>
                  <a:lnTo>
                    <a:pt x="166315" y="216489"/>
                  </a:lnTo>
                  <a:lnTo>
                    <a:pt x="160528" y="212369"/>
                  </a:lnTo>
                  <a:lnTo>
                    <a:pt x="152984" y="208826"/>
                  </a:lnTo>
                  <a:lnTo>
                    <a:pt x="149364" y="205816"/>
                  </a:lnTo>
                  <a:lnTo>
                    <a:pt x="146011" y="203022"/>
                  </a:lnTo>
                  <a:lnTo>
                    <a:pt x="144043" y="201383"/>
                  </a:lnTo>
                  <a:lnTo>
                    <a:pt x="142163" y="199821"/>
                  </a:lnTo>
                  <a:lnTo>
                    <a:pt x="139623" y="198272"/>
                  </a:lnTo>
                  <a:lnTo>
                    <a:pt x="132778" y="194068"/>
                  </a:lnTo>
                  <a:lnTo>
                    <a:pt x="128079" y="192303"/>
                  </a:lnTo>
                  <a:lnTo>
                    <a:pt x="116763" y="185369"/>
                  </a:lnTo>
                  <a:lnTo>
                    <a:pt x="103870" y="165322"/>
                  </a:lnTo>
                  <a:lnTo>
                    <a:pt x="91490" y="140714"/>
                  </a:lnTo>
                  <a:lnTo>
                    <a:pt x="79616" y="111636"/>
                  </a:lnTo>
                  <a:lnTo>
                    <a:pt x="68237" y="78181"/>
                  </a:lnTo>
                  <a:lnTo>
                    <a:pt x="57048" y="0"/>
                  </a:lnTo>
                  <a:lnTo>
                    <a:pt x="0" y="14719"/>
                  </a:lnTo>
                  <a:lnTo>
                    <a:pt x="7095" y="54324"/>
                  </a:lnTo>
                  <a:lnTo>
                    <a:pt x="32383" y="120928"/>
                  </a:lnTo>
                  <a:lnTo>
                    <a:pt x="54202" y="159167"/>
                  </a:lnTo>
                  <a:lnTo>
                    <a:pt x="89306" y="203733"/>
                  </a:lnTo>
                  <a:lnTo>
                    <a:pt x="96913" y="215277"/>
                  </a:lnTo>
                  <a:lnTo>
                    <a:pt x="98552" y="219900"/>
                  </a:lnTo>
                  <a:lnTo>
                    <a:pt x="101854" y="229273"/>
                  </a:lnTo>
                  <a:lnTo>
                    <a:pt x="104051" y="232537"/>
                  </a:lnTo>
                  <a:lnTo>
                    <a:pt x="107454" y="237591"/>
                  </a:lnTo>
                  <a:lnTo>
                    <a:pt x="108305" y="238861"/>
                  </a:lnTo>
                  <a:lnTo>
                    <a:pt x="109232" y="240245"/>
                  </a:lnTo>
                  <a:lnTo>
                    <a:pt x="110274" y="241858"/>
                  </a:lnTo>
                  <a:lnTo>
                    <a:pt x="113680" y="246784"/>
                  </a:lnTo>
                  <a:lnTo>
                    <a:pt x="150264" y="268471"/>
                  </a:lnTo>
                  <a:lnTo>
                    <a:pt x="159218" y="268258"/>
                  </a:lnTo>
                  <a:lnTo>
                    <a:pt x="164896" y="266128"/>
                  </a:lnTo>
                  <a:lnTo>
                    <a:pt x="167259" y="257171"/>
                  </a:lnTo>
                  <a:lnTo>
                    <a:pt x="162613" y="248440"/>
                  </a:lnTo>
                  <a:lnTo>
                    <a:pt x="155734" y="241314"/>
                  </a:lnTo>
                  <a:lnTo>
                    <a:pt x="151396" y="237172"/>
                  </a:lnTo>
                  <a:close/>
                </a:path>
                <a:path w="281940" h="278129">
                  <a:moveTo>
                    <a:pt x="114338" y="247142"/>
                  </a:moveTo>
                  <a:lnTo>
                    <a:pt x="109999" y="251284"/>
                  </a:lnTo>
                  <a:lnTo>
                    <a:pt x="103120" y="258410"/>
                  </a:lnTo>
                  <a:lnTo>
                    <a:pt x="98475" y="267140"/>
                  </a:lnTo>
                  <a:lnTo>
                    <a:pt x="100838" y="276098"/>
                  </a:lnTo>
                  <a:lnTo>
                    <a:pt x="107272" y="277606"/>
                  </a:lnTo>
                  <a:lnTo>
                    <a:pt x="117889" y="276453"/>
                  </a:lnTo>
                  <a:lnTo>
                    <a:pt x="130261" y="272833"/>
                  </a:lnTo>
                  <a:lnTo>
                    <a:pt x="141960" y="266941"/>
                  </a:lnTo>
                </a:path>
                <a:path w="281940" h="278129">
                  <a:moveTo>
                    <a:pt x="160909" y="243547"/>
                  </a:moveTo>
                  <a:lnTo>
                    <a:pt x="164312" y="238493"/>
                  </a:lnTo>
                  <a:lnTo>
                    <a:pt x="163880" y="239242"/>
                  </a:lnTo>
                  <a:lnTo>
                    <a:pt x="167182" y="229870"/>
                  </a:lnTo>
                  <a:lnTo>
                    <a:pt x="168897" y="225031"/>
                  </a:lnTo>
                  <a:lnTo>
                    <a:pt x="170573" y="216992"/>
                  </a:lnTo>
                  <a:lnTo>
                    <a:pt x="170980" y="213309"/>
                  </a:lnTo>
                  <a:lnTo>
                    <a:pt x="183154" y="199587"/>
                  </a:lnTo>
                  <a:lnTo>
                    <a:pt x="210194" y="165380"/>
                  </a:lnTo>
                  <a:lnTo>
                    <a:pt x="241849" y="116441"/>
                  </a:lnTo>
                  <a:lnTo>
                    <a:pt x="267868" y="58521"/>
                  </a:lnTo>
                  <a:lnTo>
                    <a:pt x="281368" y="12661"/>
                  </a:lnTo>
                  <a:lnTo>
                    <a:pt x="220459" y="1905"/>
                  </a:lnTo>
                  <a:lnTo>
                    <a:pt x="210959" y="68249"/>
                  </a:lnTo>
                  <a:lnTo>
                    <a:pt x="148971" y="195338"/>
                  </a:lnTo>
                  <a:lnTo>
                    <a:pt x="144691" y="197967"/>
                  </a:lnTo>
                </a:path>
                <a:path w="281940" h="278129">
                  <a:moveTo>
                    <a:pt x="252044" y="126276"/>
                  </a:moveTo>
                  <a:lnTo>
                    <a:pt x="261473" y="115899"/>
                  </a:lnTo>
                  <a:lnTo>
                    <a:pt x="265331" y="107843"/>
                  </a:lnTo>
                  <a:lnTo>
                    <a:pt x="264260" y="97970"/>
                  </a:lnTo>
                  <a:lnTo>
                    <a:pt x="258902" y="82143"/>
                  </a:lnTo>
                </a:path>
              </a:pathLst>
            </a:custGeom>
            <a:ln w="12700">
              <a:solidFill>
                <a:srgbClr val="5C94B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1" name="object 51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8897817" y="3671644"/>
              <a:ext cx="102188" cy="161074"/>
            </a:xfrm>
            <a:prstGeom prst="rect">
              <a:avLst/>
            </a:prstGeom>
          </p:spPr>
        </p:pic>
        <p:pic>
          <p:nvPicPr>
            <p:cNvPr id="52" name="object 52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8688800" y="3678464"/>
              <a:ext cx="114109" cy="156044"/>
            </a:xfrm>
            <a:prstGeom prst="rect">
              <a:avLst/>
            </a:prstGeom>
          </p:spPr>
        </p:pic>
        <p:sp>
          <p:nvSpPr>
            <p:cNvPr id="53" name="object 53"/>
            <p:cNvSpPr/>
            <p:nvPr/>
          </p:nvSpPr>
          <p:spPr>
            <a:xfrm>
              <a:off x="8729427" y="3939132"/>
              <a:ext cx="319405" cy="589280"/>
            </a:xfrm>
            <a:custGeom>
              <a:avLst/>
              <a:gdLst/>
              <a:ahLst/>
              <a:cxnLst/>
              <a:rect l="l" t="t" r="r" b="b"/>
              <a:pathLst>
                <a:path w="319404" h="589279">
                  <a:moveTo>
                    <a:pt x="16217" y="18948"/>
                  </a:moveTo>
                  <a:lnTo>
                    <a:pt x="13387" y="70424"/>
                  </a:lnTo>
                  <a:lnTo>
                    <a:pt x="11607" y="109473"/>
                  </a:lnTo>
                  <a:lnTo>
                    <a:pt x="9731" y="157529"/>
                  </a:lnTo>
                  <a:lnTo>
                    <a:pt x="7870" y="214694"/>
                  </a:lnTo>
                  <a:lnTo>
                    <a:pt x="6134" y="281069"/>
                  </a:lnTo>
                  <a:lnTo>
                    <a:pt x="4635" y="356755"/>
                  </a:lnTo>
                  <a:lnTo>
                    <a:pt x="2389" y="483871"/>
                  </a:lnTo>
                  <a:lnTo>
                    <a:pt x="965" y="553654"/>
                  </a:lnTo>
                  <a:lnTo>
                    <a:pt x="217" y="583078"/>
                  </a:lnTo>
                  <a:lnTo>
                    <a:pt x="0" y="589114"/>
                  </a:lnTo>
                  <a:lnTo>
                    <a:pt x="84404" y="589216"/>
                  </a:lnTo>
                  <a:lnTo>
                    <a:pt x="124383" y="326910"/>
                  </a:lnTo>
                  <a:lnTo>
                    <a:pt x="137223" y="214172"/>
                  </a:lnTo>
                  <a:lnTo>
                    <a:pt x="231965" y="589102"/>
                  </a:lnTo>
                  <a:lnTo>
                    <a:pt x="319354" y="589216"/>
                  </a:lnTo>
                  <a:lnTo>
                    <a:pt x="306519" y="458912"/>
                  </a:lnTo>
                  <a:lnTo>
                    <a:pt x="298591" y="374553"/>
                  </a:lnTo>
                  <a:lnTo>
                    <a:pt x="292284" y="299307"/>
                  </a:lnTo>
                  <a:lnTo>
                    <a:pt x="284314" y="196341"/>
                  </a:lnTo>
                  <a:lnTo>
                    <a:pt x="273614" y="119486"/>
                  </a:lnTo>
                  <a:lnTo>
                    <a:pt x="257513" y="64519"/>
                  </a:lnTo>
                  <a:lnTo>
                    <a:pt x="239432" y="26377"/>
                  </a:lnTo>
                  <a:lnTo>
                    <a:pt x="222796" y="0"/>
                  </a:lnTo>
                  <a:lnTo>
                    <a:pt x="206781" y="177"/>
                  </a:lnTo>
                </a:path>
                <a:path w="319404" h="589279">
                  <a:moveTo>
                    <a:pt x="153022" y="774"/>
                  </a:moveTo>
                  <a:lnTo>
                    <a:pt x="58521" y="1790"/>
                  </a:lnTo>
                </a:path>
              </a:pathLst>
            </a:custGeom>
            <a:ln w="12700">
              <a:solidFill>
                <a:srgbClr val="5C94B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4" name="object 54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8946496" y="4521909"/>
              <a:ext cx="116814" cy="172440"/>
            </a:xfrm>
            <a:prstGeom prst="rect">
              <a:avLst/>
            </a:prstGeom>
          </p:spPr>
        </p:pic>
        <p:pic>
          <p:nvPicPr>
            <p:cNvPr id="55" name="object 55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8646903" y="4521909"/>
              <a:ext cx="160400" cy="172440"/>
            </a:xfrm>
            <a:prstGeom prst="rect">
              <a:avLst/>
            </a:prstGeom>
          </p:spPr>
        </p:pic>
        <p:pic>
          <p:nvPicPr>
            <p:cNvPr id="56" name="object 56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8733180" y="3473042"/>
              <a:ext cx="235375" cy="194271"/>
            </a:xfrm>
            <a:prstGeom prst="rect">
              <a:avLst/>
            </a:prstGeom>
          </p:spPr>
        </p:pic>
      </p:grpSp>
      <p:pic>
        <p:nvPicPr>
          <p:cNvPr id="63" name="Picture 62">
            <a:extLst>
              <a:ext uri="{FF2B5EF4-FFF2-40B4-BE49-F238E27FC236}">
                <a16:creationId xmlns:a16="http://schemas.microsoft.com/office/drawing/2014/main" id="{412D366B-D73B-07F8-639C-2B2DDF6F6E7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628044" y="1786651"/>
            <a:ext cx="469486" cy="1199797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BC484F18-E03C-72BA-DF00-9F69D55CF92D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252425" y="1773612"/>
            <a:ext cx="430362" cy="1265003"/>
          </a:xfrm>
          <a:prstGeom prst="rect">
            <a:avLst/>
          </a:prstGeom>
        </p:spPr>
      </p:pic>
      <p:sp>
        <p:nvSpPr>
          <p:cNvPr id="66" name="object 18">
            <a:extLst>
              <a:ext uri="{FF2B5EF4-FFF2-40B4-BE49-F238E27FC236}">
                <a16:creationId xmlns:a16="http://schemas.microsoft.com/office/drawing/2014/main" id="{169E1072-2DA3-C303-9E7B-74F002439050}"/>
              </a:ext>
            </a:extLst>
          </p:cNvPr>
          <p:cNvSpPr/>
          <p:nvPr/>
        </p:nvSpPr>
        <p:spPr>
          <a:xfrm>
            <a:off x="6108331" y="2227941"/>
            <a:ext cx="2378075" cy="4085309"/>
          </a:xfrm>
          <a:custGeom>
            <a:avLst/>
            <a:gdLst/>
            <a:ahLst/>
            <a:cxnLst/>
            <a:rect l="l" t="t" r="r" b="b"/>
            <a:pathLst>
              <a:path w="2315845" h="4149090">
                <a:moveTo>
                  <a:pt x="2279649" y="0"/>
                </a:moveTo>
                <a:lnTo>
                  <a:pt x="36004" y="0"/>
                </a:lnTo>
                <a:lnTo>
                  <a:pt x="21988" y="2828"/>
                </a:lnTo>
                <a:lnTo>
                  <a:pt x="10544" y="10542"/>
                </a:lnTo>
                <a:lnTo>
                  <a:pt x="2828" y="21983"/>
                </a:lnTo>
                <a:lnTo>
                  <a:pt x="0" y="35991"/>
                </a:lnTo>
                <a:lnTo>
                  <a:pt x="0" y="4112641"/>
                </a:lnTo>
                <a:lnTo>
                  <a:pt x="2828" y="4126651"/>
                </a:lnTo>
                <a:lnTo>
                  <a:pt x="10544" y="4138096"/>
                </a:lnTo>
                <a:lnTo>
                  <a:pt x="21988" y="4145814"/>
                </a:lnTo>
                <a:lnTo>
                  <a:pt x="36004" y="4148645"/>
                </a:lnTo>
                <a:lnTo>
                  <a:pt x="2279649" y="4148645"/>
                </a:lnTo>
                <a:lnTo>
                  <a:pt x="2293666" y="4145814"/>
                </a:lnTo>
                <a:lnTo>
                  <a:pt x="2305110" y="4138096"/>
                </a:lnTo>
                <a:lnTo>
                  <a:pt x="2312825" y="4126651"/>
                </a:lnTo>
                <a:lnTo>
                  <a:pt x="2315654" y="4112641"/>
                </a:lnTo>
                <a:lnTo>
                  <a:pt x="2315654" y="35991"/>
                </a:lnTo>
                <a:lnTo>
                  <a:pt x="2312825" y="21983"/>
                </a:lnTo>
                <a:lnTo>
                  <a:pt x="2305110" y="10542"/>
                </a:lnTo>
                <a:lnTo>
                  <a:pt x="2293666" y="2828"/>
                </a:lnTo>
                <a:lnTo>
                  <a:pt x="2279649" y="0"/>
                </a:lnTo>
                <a:close/>
              </a:path>
            </a:pathLst>
          </a:custGeom>
          <a:solidFill>
            <a:srgbClr val="FEF3F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19">
            <a:extLst>
              <a:ext uri="{FF2B5EF4-FFF2-40B4-BE49-F238E27FC236}">
                <a16:creationId xmlns:a16="http://schemas.microsoft.com/office/drawing/2014/main" id="{E0A55ED3-1BC2-C6FA-A035-0FA61304880E}"/>
              </a:ext>
            </a:extLst>
          </p:cNvPr>
          <p:cNvSpPr/>
          <p:nvPr/>
        </p:nvSpPr>
        <p:spPr>
          <a:xfrm>
            <a:off x="6096796" y="2254977"/>
            <a:ext cx="1095466" cy="402179"/>
          </a:xfrm>
          <a:custGeom>
            <a:avLst/>
            <a:gdLst/>
            <a:ahLst/>
            <a:cxnLst/>
            <a:rect l="l" t="t" r="r" b="b"/>
            <a:pathLst>
              <a:path w="792479" h="384175">
                <a:moveTo>
                  <a:pt x="756005" y="0"/>
                </a:moveTo>
                <a:lnTo>
                  <a:pt x="36004" y="0"/>
                </a:lnTo>
                <a:lnTo>
                  <a:pt x="21988" y="2828"/>
                </a:lnTo>
                <a:lnTo>
                  <a:pt x="10544" y="10542"/>
                </a:lnTo>
                <a:lnTo>
                  <a:pt x="2828" y="21983"/>
                </a:lnTo>
                <a:lnTo>
                  <a:pt x="0" y="35991"/>
                </a:lnTo>
                <a:lnTo>
                  <a:pt x="0" y="347700"/>
                </a:lnTo>
                <a:lnTo>
                  <a:pt x="2828" y="361716"/>
                </a:lnTo>
                <a:lnTo>
                  <a:pt x="10544" y="373160"/>
                </a:lnTo>
                <a:lnTo>
                  <a:pt x="21988" y="380876"/>
                </a:lnTo>
                <a:lnTo>
                  <a:pt x="36004" y="383705"/>
                </a:lnTo>
                <a:lnTo>
                  <a:pt x="756005" y="383705"/>
                </a:lnTo>
                <a:lnTo>
                  <a:pt x="770016" y="380876"/>
                </a:lnTo>
                <a:lnTo>
                  <a:pt x="781461" y="373160"/>
                </a:lnTo>
                <a:lnTo>
                  <a:pt x="789179" y="361716"/>
                </a:lnTo>
                <a:lnTo>
                  <a:pt x="792010" y="347700"/>
                </a:lnTo>
                <a:lnTo>
                  <a:pt x="792010" y="35991"/>
                </a:lnTo>
                <a:lnTo>
                  <a:pt x="789179" y="21983"/>
                </a:lnTo>
                <a:lnTo>
                  <a:pt x="781461" y="10542"/>
                </a:lnTo>
                <a:lnTo>
                  <a:pt x="770016" y="2828"/>
                </a:lnTo>
                <a:lnTo>
                  <a:pt x="756005" y="0"/>
                </a:lnTo>
                <a:close/>
              </a:path>
            </a:pathLst>
          </a:custGeom>
          <a:solidFill>
            <a:srgbClr val="F283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20">
            <a:extLst>
              <a:ext uri="{FF2B5EF4-FFF2-40B4-BE49-F238E27FC236}">
                <a16:creationId xmlns:a16="http://schemas.microsoft.com/office/drawing/2014/main" id="{DCBC0B8E-CA0F-4DA7-D85F-D05AF94E8794}"/>
              </a:ext>
            </a:extLst>
          </p:cNvPr>
          <p:cNvSpPr txBox="1"/>
          <p:nvPr/>
        </p:nvSpPr>
        <p:spPr>
          <a:xfrm>
            <a:off x="6257947" y="2334385"/>
            <a:ext cx="856068" cy="338433"/>
          </a:xfrm>
          <a:prstGeom prst="rect">
            <a:avLst/>
          </a:prstGeom>
        </p:spPr>
        <p:txBody>
          <a:bodyPr vert="horz" wrap="square" lIns="0" tIns="13693" rIns="0" bIns="0" rtlCol="0">
            <a:spAutoFit/>
          </a:bodyPr>
          <a:lstStyle/>
          <a:p>
            <a:pPr marL="13042">
              <a:spcBef>
                <a:spcPts val="108"/>
              </a:spcBef>
            </a:pPr>
            <a:r>
              <a:rPr lang="en-US" sz="1027" spc="-10">
                <a:solidFill>
                  <a:srgbClr val="FFFFFF"/>
                </a:solidFill>
                <a:latin typeface="AP Type Pro Text Medium"/>
                <a:cs typeface="AP Type Pro Text Medium"/>
              </a:rPr>
              <a:t>Value shoppers</a:t>
            </a:r>
            <a:endParaRPr lang="en-US" sz="1027">
              <a:latin typeface="AP Type Pro Text Medium"/>
              <a:cs typeface="AP Type Pro Text Medium"/>
            </a:endParaRPr>
          </a:p>
        </p:txBody>
      </p:sp>
      <p:sp>
        <p:nvSpPr>
          <p:cNvPr id="69" name="object 21">
            <a:extLst>
              <a:ext uri="{FF2B5EF4-FFF2-40B4-BE49-F238E27FC236}">
                <a16:creationId xmlns:a16="http://schemas.microsoft.com/office/drawing/2014/main" id="{FAD793B0-BDCD-ADCB-2E36-BDC0190058E8}"/>
              </a:ext>
            </a:extLst>
          </p:cNvPr>
          <p:cNvSpPr/>
          <p:nvPr/>
        </p:nvSpPr>
        <p:spPr>
          <a:xfrm>
            <a:off x="6101551" y="2107425"/>
            <a:ext cx="2378076" cy="241263"/>
          </a:xfrm>
          <a:custGeom>
            <a:avLst/>
            <a:gdLst/>
            <a:ahLst/>
            <a:cxnLst/>
            <a:rect l="l" t="t" r="r" b="b"/>
            <a:pathLst>
              <a:path w="2315845" h="234950">
                <a:moveTo>
                  <a:pt x="2279649" y="0"/>
                </a:moveTo>
                <a:lnTo>
                  <a:pt x="36004" y="0"/>
                </a:lnTo>
                <a:lnTo>
                  <a:pt x="21988" y="2828"/>
                </a:lnTo>
                <a:lnTo>
                  <a:pt x="10544" y="10542"/>
                </a:lnTo>
                <a:lnTo>
                  <a:pt x="2828" y="21983"/>
                </a:lnTo>
                <a:lnTo>
                  <a:pt x="0" y="35991"/>
                </a:lnTo>
                <a:lnTo>
                  <a:pt x="0" y="198716"/>
                </a:lnTo>
                <a:lnTo>
                  <a:pt x="2828" y="212732"/>
                </a:lnTo>
                <a:lnTo>
                  <a:pt x="10544" y="224177"/>
                </a:lnTo>
                <a:lnTo>
                  <a:pt x="21988" y="231892"/>
                </a:lnTo>
                <a:lnTo>
                  <a:pt x="36004" y="234721"/>
                </a:lnTo>
                <a:lnTo>
                  <a:pt x="2279649" y="234721"/>
                </a:lnTo>
                <a:lnTo>
                  <a:pt x="2293666" y="231892"/>
                </a:lnTo>
                <a:lnTo>
                  <a:pt x="2305110" y="224177"/>
                </a:lnTo>
                <a:lnTo>
                  <a:pt x="2312825" y="212732"/>
                </a:lnTo>
                <a:lnTo>
                  <a:pt x="2315654" y="198716"/>
                </a:lnTo>
                <a:lnTo>
                  <a:pt x="2315654" y="35991"/>
                </a:lnTo>
                <a:lnTo>
                  <a:pt x="2312825" y="21983"/>
                </a:lnTo>
                <a:lnTo>
                  <a:pt x="2305110" y="10542"/>
                </a:lnTo>
                <a:lnTo>
                  <a:pt x="2293666" y="2828"/>
                </a:lnTo>
                <a:lnTo>
                  <a:pt x="2279649" y="0"/>
                </a:lnTo>
                <a:close/>
              </a:path>
            </a:pathLst>
          </a:custGeom>
          <a:solidFill>
            <a:srgbClr val="E5087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22">
            <a:extLst>
              <a:ext uri="{FF2B5EF4-FFF2-40B4-BE49-F238E27FC236}">
                <a16:creationId xmlns:a16="http://schemas.microsoft.com/office/drawing/2014/main" id="{11DE9A18-B717-F196-8DF7-6A1247509585}"/>
              </a:ext>
            </a:extLst>
          </p:cNvPr>
          <p:cNvSpPr txBox="1"/>
          <p:nvPr/>
        </p:nvSpPr>
        <p:spPr>
          <a:xfrm>
            <a:off x="6257945" y="2132526"/>
            <a:ext cx="852246" cy="176131"/>
          </a:xfrm>
          <a:prstGeom prst="rect">
            <a:avLst/>
          </a:prstGeom>
        </p:spPr>
        <p:txBody>
          <a:bodyPr vert="horz" wrap="square" lIns="0" tIns="13693" rIns="0" bIns="0" rtlCol="0">
            <a:spAutoFit/>
          </a:bodyPr>
          <a:lstStyle/>
          <a:p>
            <a:pPr marL="13042">
              <a:spcBef>
                <a:spcPts val="108"/>
              </a:spcBef>
            </a:pPr>
            <a:r>
              <a:rPr lang="en-AU" sz="1027">
                <a:solidFill>
                  <a:srgbClr val="FFFFFF"/>
                </a:solidFill>
                <a:latin typeface="AP Type Pro Text Medium"/>
                <a:cs typeface="AP Type Pro Text Medium"/>
              </a:rPr>
              <a:t>Gen</a:t>
            </a:r>
            <a:r>
              <a:rPr lang="en-AU" sz="1027" spc="-10">
                <a:solidFill>
                  <a:srgbClr val="FFFFFF"/>
                </a:solidFill>
                <a:latin typeface="AP Type Pro Text Medium"/>
                <a:cs typeface="AP Type Pro Text Medium"/>
              </a:rPr>
              <a:t> </a:t>
            </a:r>
            <a:r>
              <a:rPr lang="en-AU" sz="1027">
                <a:solidFill>
                  <a:srgbClr val="FFFFFF"/>
                </a:solidFill>
                <a:latin typeface="AP Type Pro Text Medium"/>
                <a:cs typeface="AP Type Pro Text Medium"/>
              </a:rPr>
              <a:t>X</a:t>
            </a:r>
            <a:r>
              <a:rPr lang="en-AU" sz="1027" spc="-5">
                <a:solidFill>
                  <a:srgbClr val="FFFFFF"/>
                </a:solidFill>
                <a:latin typeface="AP Type Pro Text Medium"/>
                <a:cs typeface="AP Type Pro Text Medium"/>
              </a:rPr>
              <a:t> </a:t>
            </a:r>
            <a:r>
              <a:rPr lang="en-AU" sz="1027" spc="-36">
                <a:solidFill>
                  <a:srgbClr val="FFFFFF"/>
                </a:solidFill>
                <a:latin typeface="AP Type Pro Text Medium"/>
                <a:cs typeface="AP Type Pro Text Medium"/>
              </a:rPr>
              <a:t>(47-</a:t>
            </a:r>
            <a:r>
              <a:rPr lang="en-AU" sz="1027" spc="-26">
                <a:solidFill>
                  <a:srgbClr val="FFFFFF"/>
                </a:solidFill>
                <a:latin typeface="AP Type Pro Text Medium"/>
                <a:cs typeface="AP Type Pro Text Medium"/>
              </a:rPr>
              <a:t>59)</a:t>
            </a:r>
            <a:endParaRPr lang="en-AU" sz="1027">
              <a:latin typeface="AP Type Pro Text Medium"/>
              <a:cs typeface="AP Type Pro Text Medium"/>
            </a:endParaRPr>
          </a:p>
        </p:txBody>
      </p:sp>
      <p:sp>
        <p:nvSpPr>
          <p:cNvPr id="71" name="object 51">
            <a:extLst>
              <a:ext uri="{FF2B5EF4-FFF2-40B4-BE49-F238E27FC236}">
                <a16:creationId xmlns:a16="http://schemas.microsoft.com/office/drawing/2014/main" id="{0D13FBBD-CD60-4CA4-0054-26A9CDF97025}"/>
              </a:ext>
            </a:extLst>
          </p:cNvPr>
          <p:cNvSpPr txBox="1"/>
          <p:nvPr/>
        </p:nvSpPr>
        <p:spPr>
          <a:xfrm>
            <a:off x="6174339" y="2460702"/>
            <a:ext cx="1829392" cy="1174722"/>
          </a:xfrm>
          <a:prstGeom prst="rect">
            <a:avLst/>
          </a:prstGeom>
        </p:spPr>
        <p:txBody>
          <a:bodyPr vert="horz" wrap="square" lIns="0" tIns="13693" rIns="0" bIns="0" rtlCol="0" anchor="t">
            <a:spAutoFit/>
          </a:bodyPr>
          <a:lstStyle/>
          <a:p>
            <a:pPr marL="13042">
              <a:lnSpc>
                <a:spcPct val="165106"/>
              </a:lnSpc>
              <a:spcBef>
                <a:spcPts val="108"/>
              </a:spcBef>
            </a:pPr>
            <a:r>
              <a:rPr lang="en-US" sz="3697" b="1" spc="-51">
                <a:solidFill>
                  <a:srgbClr val="E5087D"/>
                </a:solidFill>
                <a:latin typeface="AP Type Pro Text"/>
                <a:cs typeface="AP Type Pro Text"/>
              </a:rPr>
              <a:t>$17.5b</a:t>
            </a:r>
            <a:endParaRPr lang="en-US" sz="3697">
              <a:latin typeface="AP Type Pro Text"/>
              <a:cs typeface="AP Type Pro Text"/>
            </a:endParaRPr>
          </a:p>
          <a:p>
            <a:pPr marL="29341">
              <a:lnSpc>
                <a:spcPct val="157638"/>
              </a:lnSpc>
            </a:pPr>
            <a:r>
              <a:rPr lang="en-US" sz="1027">
                <a:latin typeface="AP Type Pro Text Medium"/>
                <a:cs typeface="AP Type Pro Text Medium"/>
              </a:rPr>
              <a:t>Online spend</a:t>
            </a:r>
          </a:p>
        </p:txBody>
      </p:sp>
      <p:sp>
        <p:nvSpPr>
          <p:cNvPr id="5" name="object 5"/>
          <p:cNvSpPr txBox="1"/>
          <p:nvPr/>
        </p:nvSpPr>
        <p:spPr>
          <a:xfrm>
            <a:off x="6627377" y="1124181"/>
            <a:ext cx="923316" cy="409247"/>
          </a:xfrm>
          <a:prstGeom prst="rect">
            <a:avLst/>
          </a:prstGeom>
        </p:spPr>
        <p:txBody>
          <a:bodyPr vert="horz" wrap="square" lIns="0" tIns="52165" rIns="0" bIns="0" rtlCol="0">
            <a:spAutoFit/>
          </a:bodyPr>
          <a:lstStyle/>
          <a:p>
            <a:pPr marL="13042" marR="5217">
              <a:lnSpc>
                <a:spcPct val="75000"/>
              </a:lnSpc>
              <a:spcBef>
                <a:spcPts val="411"/>
              </a:spcBef>
            </a:pPr>
            <a:r>
              <a:rPr lang="en-US" sz="1027">
                <a:latin typeface="AP Type Text" panose="020B0503030202060203" pitchFamily="34" charset="0"/>
                <a:cs typeface="AP Type Pro Text Medium"/>
              </a:rPr>
              <a:t>Online penetration</a:t>
            </a:r>
            <a:br>
              <a:rPr lang="en-US" sz="1027">
                <a:latin typeface="AP Type Text" panose="020B0503030202060203" pitchFamily="34" charset="0"/>
                <a:cs typeface="AP Type Pro Text Medium"/>
              </a:rPr>
            </a:br>
            <a:r>
              <a:rPr lang="en-US" sz="1027">
                <a:latin typeface="AP Type Text" panose="020B0503030202060203" pitchFamily="34" charset="0"/>
                <a:cs typeface="AP Type Pro Text Medium"/>
              </a:rPr>
              <a:t>by generation* </a:t>
            </a:r>
          </a:p>
        </p:txBody>
      </p:sp>
      <p:sp>
        <p:nvSpPr>
          <p:cNvPr id="12" name="object 12"/>
          <p:cNvSpPr/>
          <p:nvPr/>
        </p:nvSpPr>
        <p:spPr>
          <a:xfrm>
            <a:off x="856766" y="2227941"/>
            <a:ext cx="2378076" cy="4085309"/>
          </a:xfrm>
          <a:custGeom>
            <a:avLst/>
            <a:gdLst/>
            <a:ahLst/>
            <a:cxnLst/>
            <a:rect l="l" t="t" r="r" b="b"/>
            <a:pathLst>
              <a:path w="2315845" h="4149090">
                <a:moveTo>
                  <a:pt x="2279650" y="0"/>
                </a:moveTo>
                <a:lnTo>
                  <a:pt x="36004" y="0"/>
                </a:lnTo>
                <a:lnTo>
                  <a:pt x="21988" y="2828"/>
                </a:lnTo>
                <a:lnTo>
                  <a:pt x="10544" y="10542"/>
                </a:lnTo>
                <a:lnTo>
                  <a:pt x="2828" y="21983"/>
                </a:lnTo>
                <a:lnTo>
                  <a:pt x="0" y="35991"/>
                </a:lnTo>
                <a:lnTo>
                  <a:pt x="0" y="4112641"/>
                </a:lnTo>
                <a:lnTo>
                  <a:pt x="2828" y="4126651"/>
                </a:lnTo>
                <a:lnTo>
                  <a:pt x="10544" y="4138096"/>
                </a:lnTo>
                <a:lnTo>
                  <a:pt x="21988" y="4145814"/>
                </a:lnTo>
                <a:lnTo>
                  <a:pt x="36004" y="4148645"/>
                </a:lnTo>
                <a:lnTo>
                  <a:pt x="2279650" y="4148645"/>
                </a:lnTo>
                <a:lnTo>
                  <a:pt x="2293666" y="4145814"/>
                </a:lnTo>
                <a:lnTo>
                  <a:pt x="2305110" y="4138096"/>
                </a:lnTo>
                <a:lnTo>
                  <a:pt x="2312825" y="4126651"/>
                </a:lnTo>
                <a:lnTo>
                  <a:pt x="2315654" y="4112641"/>
                </a:lnTo>
                <a:lnTo>
                  <a:pt x="2315654" y="35991"/>
                </a:lnTo>
                <a:lnTo>
                  <a:pt x="2312825" y="21983"/>
                </a:lnTo>
                <a:lnTo>
                  <a:pt x="2305110" y="10542"/>
                </a:lnTo>
                <a:lnTo>
                  <a:pt x="2293666" y="2828"/>
                </a:lnTo>
                <a:lnTo>
                  <a:pt x="2279650" y="0"/>
                </a:lnTo>
                <a:close/>
              </a:path>
            </a:pathLst>
          </a:custGeom>
          <a:solidFill>
            <a:srgbClr val="FBE8E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856767" y="2177891"/>
            <a:ext cx="1249400" cy="497682"/>
          </a:xfrm>
          <a:custGeom>
            <a:avLst/>
            <a:gdLst/>
            <a:ahLst/>
            <a:cxnLst/>
            <a:rect l="l" t="t" r="r" b="b"/>
            <a:pathLst>
              <a:path w="792480" h="384175">
                <a:moveTo>
                  <a:pt x="756005" y="0"/>
                </a:moveTo>
                <a:lnTo>
                  <a:pt x="36004" y="0"/>
                </a:lnTo>
                <a:lnTo>
                  <a:pt x="21988" y="2828"/>
                </a:lnTo>
                <a:lnTo>
                  <a:pt x="10544" y="10542"/>
                </a:lnTo>
                <a:lnTo>
                  <a:pt x="2828" y="21983"/>
                </a:lnTo>
                <a:lnTo>
                  <a:pt x="0" y="35991"/>
                </a:lnTo>
                <a:lnTo>
                  <a:pt x="0" y="347700"/>
                </a:lnTo>
                <a:lnTo>
                  <a:pt x="2828" y="361716"/>
                </a:lnTo>
                <a:lnTo>
                  <a:pt x="10544" y="373160"/>
                </a:lnTo>
                <a:lnTo>
                  <a:pt x="21988" y="380876"/>
                </a:lnTo>
                <a:lnTo>
                  <a:pt x="36004" y="383705"/>
                </a:lnTo>
                <a:lnTo>
                  <a:pt x="756005" y="383705"/>
                </a:lnTo>
                <a:lnTo>
                  <a:pt x="770016" y="380876"/>
                </a:lnTo>
                <a:lnTo>
                  <a:pt x="781461" y="373160"/>
                </a:lnTo>
                <a:lnTo>
                  <a:pt x="789179" y="361716"/>
                </a:lnTo>
                <a:lnTo>
                  <a:pt x="792010" y="347700"/>
                </a:lnTo>
                <a:lnTo>
                  <a:pt x="792010" y="35991"/>
                </a:lnTo>
                <a:lnTo>
                  <a:pt x="789179" y="21983"/>
                </a:lnTo>
                <a:lnTo>
                  <a:pt x="781461" y="10542"/>
                </a:lnTo>
                <a:lnTo>
                  <a:pt x="770016" y="2828"/>
                </a:lnTo>
                <a:lnTo>
                  <a:pt x="756005" y="0"/>
                </a:lnTo>
                <a:close/>
              </a:path>
            </a:pathLst>
          </a:custGeom>
          <a:solidFill>
            <a:srgbClr val="ED8C9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1010700" y="2334385"/>
            <a:ext cx="1173714" cy="338433"/>
          </a:xfrm>
          <a:prstGeom prst="rect">
            <a:avLst/>
          </a:prstGeom>
        </p:spPr>
        <p:txBody>
          <a:bodyPr vert="horz" wrap="square" lIns="0" tIns="13693" rIns="0" bIns="0" rtlCol="0">
            <a:spAutoFit/>
          </a:bodyPr>
          <a:lstStyle/>
          <a:p>
            <a:pPr marL="13042">
              <a:spcBef>
                <a:spcPts val="108"/>
              </a:spcBef>
            </a:pPr>
            <a:r>
              <a:rPr lang="en-US" sz="1027" spc="-10">
                <a:solidFill>
                  <a:srgbClr val="FFFFFF"/>
                </a:solidFill>
                <a:latin typeface="AP Type Pro Text Medium"/>
                <a:cs typeface="AP Type Pro Text Medium"/>
              </a:rPr>
              <a:t>Sustainability conscious </a:t>
            </a:r>
            <a:endParaRPr lang="en-US" sz="1027">
              <a:latin typeface="AP Type Pro Text Medium"/>
              <a:cs typeface="AP Type Pro Text Medium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856766" y="2107425"/>
            <a:ext cx="2378076" cy="241263"/>
          </a:xfrm>
          <a:custGeom>
            <a:avLst/>
            <a:gdLst/>
            <a:ahLst/>
            <a:cxnLst/>
            <a:rect l="l" t="t" r="r" b="b"/>
            <a:pathLst>
              <a:path w="2315845" h="234950">
                <a:moveTo>
                  <a:pt x="2279650" y="0"/>
                </a:moveTo>
                <a:lnTo>
                  <a:pt x="36004" y="0"/>
                </a:lnTo>
                <a:lnTo>
                  <a:pt x="21988" y="2828"/>
                </a:lnTo>
                <a:lnTo>
                  <a:pt x="10544" y="10542"/>
                </a:lnTo>
                <a:lnTo>
                  <a:pt x="2828" y="21983"/>
                </a:lnTo>
                <a:lnTo>
                  <a:pt x="0" y="35991"/>
                </a:lnTo>
                <a:lnTo>
                  <a:pt x="0" y="198716"/>
                </a:lnTo>
                <a:lnTo>
                  <a:pt x="2828" y="212732"/>
                </a:lnTo>
                <a:lnTo>
                  <a:pt x="10544" y="224177"/>
                </a:lnTo>
                <a:lnTo>
                  <a:pt x="21988" y="231892"/>
                </a:lnTo>
                <a:lnTo>
                  <a:pt x="36004" y="234721"/>
                </a:lnTo>
                <a:lnTo>
                  <a:pt x="2279650" y="234721"/>
                </a:lnTo>
                <a:lnTo>
                  <a:pt x="2293666" y="231892"/>
                </a:lnTo>
                <a:lnTo>
                  <a:pt x="2305110" y="224177"/>
                </a:lnTo>
                <a:lnTo>
                  <a:pt x="2312825" y="212732"/>
                </a:lnTo>
                <a:lnTo>
                  <a:pt x="2315654" y="198716"/>
                </a:lnTo>
                <a:lnTo>
                  <a:pt x="2315654" y="35991"/>
                </a:lnTo>
                <a:lnTo>
                  <a:pt x="2312825" y="21983"/>
                </a:lnTo>
                <a:lnTo>
                  <a:pt x="2305110" y="10542"/>
                </a:lnTo>
                <a:lnTo>
                  <a:pt x="2293666" y="2828"/>
                </a:lnTo>
                <a:lnTo>
                  <a:pt x="2279650" y="0"/>
                </a:lnTo>
                <a:close/>
              </a:path>
            </a:pathLst>
          </a:custGeom>
          <a:solidFill>
            <a:srgbClr val="DC192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1006382" y="2132526"/>
            <a:ext cx="841162" cy="176131"/>
          </a:xfrm>
          <a:prstGeom prst="rect">
            <a:avLst/>
          </a:prstGeom>
        </p:spPr>
        <p:txBody>
          <a:bodyPr vert="horz" wrap="square" lIns="0" tIns="13693" rIns="0" bIns="0" rtlCol="0">
            <a:spAutoFit/>
          </a:bodyPr>
          <a:lstStyle/>
          <a:p>
            <a:pPr marL="13042">
              <a:spcBef>
                <a:spcPts val="108"/>
              </a:spcBef>
            </a:pPr>
            <a:r>
              <a:rPr lang="en-AU" sz="1027">
                <a:solidFill>
                  <a:srgbClr val="FFFFFF"/>
                </a:solidFill>
                <a:latin typeface="AP Type Pro Text Medium"/>
                <a:cs typeface="AP Type Pro Text Medium"/>
              </a:rPr>
              <a:t>Gen</a:t>
            </a:r>
            <a:r>
              <a:rPr lang="en-AU" sz="1027" spc="5">
                <a:solidFill>
                  <a:srgbClr val="FFFFFF"/>
                </a:solidFill>
                <a:latin typeface="AP Type Pro Text Medium"/>
                <a:cs typeface="AP Type Pro Text Medium"/>
              </a:rPr>
              <a:t> </a:t>
            </a:r>
            <a:r>
              <a:rPr lang="en-AU" sz="1027">
                <a:solidFill>
                  <a:srgbClr val="FFFFFF"/>
                </a:solidFill>
                <a:latin typeface="AP Type Pro Text Medium"/>
                <a:cs typeface="AP Type Pro Text Medium"/>
              </a:rPr>
              <a:t>Z</a:t>
            </a:r>
            <a:r>
              <a:rPr lang="en-AU" sz="1027" spc="10">
                <a:solidFill>
                  <a:srgbClr val="FFFFFF"/>
                </a:solidFill>
                <a:latin typeface="AP Type Pro Text Medium"/>
                <a:cs typeface="AP Type Pro Text Medium"/>
              </a:rPr>
              <a:t> </a:t>
            </a:r>
            <a:r>
              <a:rPr lang="en-AU" sz="1027" spc="-10">
                <a:solidFill>
                  <a:srgbClr val="FFFFFF"/>
                </a:solidFill>
                <a:latin typeface="AP Type Pro Text Medium"/>
                <a:cs typeface="AP Type Pro Text Medium"/>
              </a:rPr>
              <a:t>(18-</a:t>
            </a:r>
            <a:r>
              <a:rPr lang="en-AU" sz="1027" spc="-26">
                <a:solidFill>
                  <a:srgbClr val="FFFFFF"/>
                </a:solidFill>
                <a:latin typeface="AP Type Pro Text Medium"/>
                <a:cs typeface="AP Type Pro Text Medium"/>
              </a:rPr>
              <a:t>25)</a:t>
            </a:r>
            <a:endParaRPr lang="en-AU" sz="1027">
              <a:latin typeface="AP Type Pro Text Medium"/>
              <a:cs typeface="AP Type Pro Text Medium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3482547" y="2227941"/>
            <a:ext cx="2378076" cy="4085309"/>
          </a:xfrm>
          <a:custGeom>
            <a:avLst/>
            <a:gdLst/>
            <a:ahLst/>
            <a:cxnLst/>
            <a:rect l="l" t="t" r="r" b="b"/>
            <a:pathLst>
              <a:path w="2315845" h="4149090">
                <a:moveTo>
                  <a:pt x="2279649" y="0"/>
                </a:moveTo>
                <a:lnTo>
                  <a:pt x="36004" y="0"/>
                </a:lnTo>
                <a:lnTo>
                  <a:pt x="21988" y="2828"/>
                </a:lnTo>
                <a:lnTo>
                  <a:pt x="10544" y="10542"/>
                </a:lnTo>
                <a:lnTo>
                  <a:pt x="2828" y="21983"/>
                </a:lnTo>
                <a:lnTo>
                  <a:pt x="0" y="35991"/>
                </a:lnTo>
                <a:lnTo>
                  <a:pt x="0" y="4112641"/>
                </a:lnTo>
                <a:lnTo>
                  <a:pt x="2828" y="4126651"/>
                </a:lnTo>
                <a:lnTo>
                  <a:pt x="10544" y="4138096"/>
                </a:lnTo>
                <a:lnTo>
                  <a:pt x="21988" y="4145814"/>
                </a:lnTo>
                <a:lnTo>
                  <a:pt x="36004" y="4148645"/>
                </a:lnTo>
                <a:lnTo>
                  <a:pt x="2279649" y="4148645"/>
                </a:lnTo>
                <a:lnTo>
                  <a:pt x="2293666" y="4145814"/>
                </a:lnTo>
                <a:lnTo>
                  <a:pt x="2305110" y="4138096"/>
                </a:lnTo>
                <a:lnTo>
                  <a:pt x="2312825" y="4126651"/>
                </a:lnTo>
                <a:lnTo>
                  <a:pt x="2315654" y="4112641"/>
                </a:lnTo>
                <a:lnTo>
                  <a:pt x="2315654" y="35991"/>
                </a:lnTo>
                <a:lnTo>
                  <a:pt x="2312825" y="21983"/>
                </a:lnTo>
                <a:lnTo>
                  <a:pt x="2305110" y="10542"/>
                </a:lnTo>
                <a:lnTo>
                  <a:pt x="2293666" y="2828"/>
                </a:lnTo>
                <a:lnTo>
                  <a:pt x="2279649" y="0"/>
                </a:lnTo>
                <a:close/>
              </a:path>
            </a:pathLst>
          </a:custGeom>
          <a:solidFill>
            <a:srgbClr val="E5F2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3482547" y="2256137"/>
            <a:ext cx="1049294" cy="419434"/>
          </a:xfrm>
          <a:custGeom>
            <a:avLst/>
            <a:gdLst/>
            <a:ahLst/>
            <a:cxnLst/>
            <a:rect l="l" t="t" r="r" b="b"/>
            <a:pathLst>
              <a:path w="792479" h="384175">
                <a:moveTo>
                  <a:pt x="756005" y="0"/>
                </a:moveTo>
                <a:lnTo>
                  <a:pt x="36004" y="0"/>
                </a:lnTo>
                <a:lnTo>
                  <a:pt x="21988" y="2828"/>
                </a:lnTo>
                <a:lnTo>
                  <a:pt x="10544" y="10542"/>
                </a:lnTo>
                <a:lnTo>
                  <a:pt x="2828" y="21983"/>
                </a:lnTo>
                <a:lnTo>
                  <a:pt x="0" y="35991"/>
                </a:lnTo>
                <a:lnTo>
                  <a:pt x="0" y="347700"/>
                </a:lnTo>
                <a:lnTo>
                  <a:pt x="2828" y="361716"/>
                </a:lnTo>
                <a:lnTo>
                  <a:pt x="10544" y="373160"/>
                </a:lnTo>
                <a:lnTo>
                  <a:pt x="21988" y="380876"/>
                </a:lnTo>
                <a:lnTo>
                  <a:pt x="36004" y="383705"/>
                </a:lnTo>
                <a:lnTo>
                  <a:pt x="756005" y="383705"/>
                </a:lnTo>
                <a:lnTo>
                  <a:pt x="770016" y="380876"/>
                </a:lnTo>
                <a:lnTo>
                  <a:pt x="781461" y="373160"/>
                </a:lnTo>
                <a:lnTo>
                  <a:pt x="789179" y="361716"/>
                </a:lnTo>
                <a:lnTo>
                  <a:pt x="792010" y="347700"/>
                </a:lnTo>
                <a:lnTo>
                  <a:pt x="792010" y="35991"/>
                </a:lnTo>
                <a:lnTo>
                  <a:pt x="789179" y="21983"/>
                </a:lnTo>
                <a:lnTo>
                  <a:pt x="781461" y="10542"/>
                </a:lnTo>
                <a:lnTo>
                  <a:pt x="770016" y="2828"/>
                </a:lnTo>
                <a:lnTo>
                  <a:pt x="756005" y="0"/>
                </a:lnTo>
                <a:close/>
              </a:path>
            </a:pathLst>
          </a:custGeom>
          <a:solidFill>
            <a:srgbClr val="7FBEC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>
            <a:off x="3632164" y="2334385"/>
            <a:ext cx="821431" cy="338433"/>
          </a:xfrm>
          <a:prstGeom prst="rect">
            <a:avLst/>
          </a:prstGeom>
        </p:spPr>
        <p:txBody>
          <a:bodyPr vert="horz" wrap="square" lIns="0" tIns="13693" rIns="0" bIns="0" rtlCol="0">
            <a:spAutoFit/>
          </a:bodyPr>
          <a:lstStyle/>
          <a:p>
            <a:pPr marL="13042">
              <a:spcBef>
                <a:spcPts val="108"/>
              </a:spcBef>
            </a:pPr>
            <a:r>
              <a:rPr lang="en-US" sz="1027" spc="-10">
                <a:solidFill>
                  <a:srgbClr val="FFFFFF"/>
                </a:solidFill>
                <a:latin typeface="AP Type Pro Text Medium"/>
                <a:cs typeface="AP Type Pro Text Medium"/>
              </a:rPr>
              <a:t>The Impatient </a:t>
            </a:r>
            <a:endParaRPr lang="en-US" sz="1027">
              <a:latin typeface="AP Type Pro Text Medium"/>
              <a:cs typeface="AP Type Pro Text Medium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3482547" y="2107425"/>
            <a:ext cx="2378076" cy="241263"/>
          </a:xfrm>
          <a:custGeom>
            <a:avLst/>
            <a:gdLst/>
            <a:ahLst/>
            <a:cxnLst/>
            <a:rect l="l" t="t" r="r" b="b"/>
            <a:pathLst>
              <a:path w="2315845" h="234950">
                <a:moveTo>
                  <a:pt x="2279649" y="0"/>
                </a:moveTo>
                <a:lnTo>
                  <a:pt x="36004" y="0"/>
                </a:lnTo>
                <a:lnTo>
                  <a:pt x="21988" y="2828"/>
                </a:lnTo>
                <a:lnTo>
                  <a:pt x="10544" y="10542"/>
                </a:lnTo>
                <a:lnTo>
                  <a:pt x="2828" y="21983"/>
                </a:lnTo>
                <a:lnTo>
                  <a:pt x="0" y="35991"/>
                </a:lnTo>
                <a:lnTo>
                  <a:pt x="0" y="198716"/>
                </a:lnTo>
                <a:lnTo>
                  <a:pt x="2828" y="212732"/>
                </a:lnTo>
                <a:lnTo>
                  <a:pt x="10544" y="224177"/>
                </a:lnTo>
                <a:lnTo>
                  <a:pt x="21988" y="231892"/>
                </a:lnTo>
                <a:lnTo>
                  <a:pt x="36004" y="234721"/>
                </a:lnTo>
                <a:lnTo>
                  <a:pt x="2279649" y="234721"/>
                </a:lnTo>
                <a:lnTo>
                  <a:pt x="2293666" y="231892"/>
                </a:lnTo>
                <a:lnTo>
                  <a:pt x="2305110" y="224177"/>
                </a:lnTo>
                <a:lnTo>
                  <a:pt x="2312825" y="212732"/>
                </a:lnTo>
                <a:lnTo>
                  <a:pt x="2315654" y="198716"/>
                </a:lnTo>
                <a:lnTo>
                  <a:pt x="2315654" y="35991"/>
                </a:lnTo>
                <a:lnTo>
                  <a:pt x="2312825" y="21983"/>
                </a:lnTo>
                <a:lnTo>
                  <a:pt x="2305110" y="10542"/>
                </a:lnTo>
                <a:lnTo>
                  <a:pt x="2293666" y="2828"/>
                </a:lnTo>
                <a:lnTo>
                  <a:pt x="2279649" y="0"/>
                </a:lnTo>
                <a:close/>
              </a:path>
            </a:pathLst>
          </a:custGeom>
          <a:solidFill>
            <a:srgbClr val="007D8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 txBox="1"/>
          <p:nvPr/>
        </p:nvSpPr>
        <p:spPr>
          <a:xfrm>
            <a:off x="3632164" y="2132526"/>
            <a:ext cx="853551" cy="176131"/>
          </a:xfrm>
          <a:prstGeom prst="rect">
            <a:avLst/>
          </a:prstGeom>
        </p:spPr>
        <p:txBody>
          <a:bodyPr vert="horz" wrap="square" lIns="0" tIns="13693" rIns="0" bIns="0" rtlCol="0">
            <a:spAutoFit/>
          </a:bodyPr>
          <a:lstStyle/>
          <a:p>
            <a:pPr marL="13042">
              <a:spcBef>
                <a:spcPts val="108"/>
              </a:spcBef>
            </a:pPr>
            <a:r>
              <a:rPr lang="en-AU" sz="1027">
                <a:solidFill>
                  <a:srgbClr val="FFFFFF"/>
                </a:solidFill>
                <a:latin typeface="AP Type Pro Text Medium"/>
                <a:cs typeface="AP Type Pro Text Medium"/>
              </a:rPr>
              <a:t>Gen</a:t>
            </a:r>
            <a:r>
              <a:rPr lang="en-AU" sz="1027" spc="-26">
                <a:solidFill>
                  <a:srgbClr val="FFFFFF"/>
                </a:solidFill>
                <a:latin typeface="AP Type Pro Text Medium"/>
                <a:cs typeface="AP Type Pro Text Medium"/>
              </a:rPr>
              <a:t> </a:t>
            </a:r>
            <a:r>
              <a:rPr lang="en-AU" sz="1027">
                <a:solidFill>
                  <a:srgbClr val="FFFFFF"/>
                </a:solidFill>
                <a:latin typeface="AP Type Pro Text Medium"/>
                <a:cs typeface="AP Type Pro Text Medium"/>
              </a:rPr>
              <a:t>Y</a:t>
            </a:r>
            <a:r>
              <a:rPr lang="en-AU" sz="1027" spc="-21">
                <a:solidFill>
                  <a:srgbClr val="FFFFFF"/>
                </a:solidFill>
                <a:latin typeface="AP Type Pro Text Medium"/>
                <a:cs typeface="AP Type Pro Text Medium"/>
              </a:rPr>
              <a:t> (27-</a:t>
            </a:r>
            <a:r>
              <a:rPr lang="en-AU" sz="1027" spc="-26">
                <a:solidFill>
                  <a:srgbClr val="FFFFFF"/>
                </a:solidFill>
                <a:latin typeface="AP Type Pro Text Medium"/>
                <a:cs typeface="AP Type Pro Text Medium"/>
              </a:rPr>
              <a:t>43)</a:t>
            </a:r>
            <a:endParaRPr lang="en-AU" sz="1027">
              <a:latin typeface="AP Type Pro Text Medium"/>
              <a:cs typeface="AP Type Pro Text Medium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8734113" y="2227941"/>
            <a:ext cx="2378076" cy="4085309"/>
          </a:xfrm>
          <a:custGeom>
            <a:avLst/>
            <a:gdLst/>
            <a:ahLst/>
            <a:cxnLst/>
            <a:rect l="l" t="t" r="r" b="b"/>
            <a:pathLst>
              <a:path w="2315845" h="4149090">
                <a:moveTo>
                  <a:pt x="2279650" y="0"/>
                </a:moveTo>
                <a:lnTo>
                  <a:pt x="36004" y="0"/>
                </a:lnTo>
                <a:lnTo>
                  <a:pt x="21988" y="2828"/>
                </a:lnTo>
                <a:lnTo>
                  <a:pt x="10544" y="10542"/>
                </a:lnTo>
                <a:lnTo>
                  <a:pt x="2828" y="21983"/>
                </a:lnTo>
                <a:lnTo>
                  <a:pt x="0" y="35991"/>
                </a:lnTo>
                <a:lnTo>
                  <a:pt x="0" y="4112641"/>
                </a:lnTo>
                <a:lnTo>
                  <a:pt x="2828" y="4126651"/>
                </a:lnTo>
                <a:lnTo>
                  <a:pt x="10544" y="4138096"/>
                </a:lnTo>
                <a:lnTo>
                  <a:pt x="21988" y="4145814"/>
                </a:lnTo>
                <a:lnTo>
                  <a:pt x="36004" y="4148645"/>
                </a:lnTo>
                <a:lnTo>
                  <a:pt x="2279650" y="4148645"/>
                </a:lnTo>
                <a:lnTo>
                  <a:pt x="2293666" y="4145814"/>
                </a:lnTo>
                <a:lnTo>
                  <a:pt x="2305110" y="4138096"/>
                </a:lnTo>
                <a:lnTo>
                  <a:pt x="2312825" y="4126651"/>
                </a:lnTo>
                <a:lnTo>
                  <a:pt x="2315654" y="4112641"/>
                </a:lnTo>
                <a:lnTo>
                  <a:pt x="2315654" y="35991"/>
                </a:lnTo>
                <a:lnTo>
                  <a:pt x="2312825" y="21983"/>
                </a:lnTo>
                <a:lnTo>
                  <a:pt x="2305110" y="10542"/>
                </a:lnTo>
                <a:lnTo>
                  <a:pt x="2293666" y="2828"/>
                </a:lnTo>
                <a:lnTo>
                  <a:pt x="2279650" y="0"/>
                </a:lnTo>
                <a:close/>
              </a:path>
            </a:pathLst>
          </a:custGeom>
          <a:solidFill>
            <a:srgbClr val="E5F2F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8734110" y="2177891"/>
            <a:ext cx="1040322" cy="497682"/>
          </a:xfrm>
          <a:custGeom>
            <a:avLst/>
            <a:gdLst/>
            <a:ahLst/>
            <a:cxnLst/>
            <a:rect l="l" t="t" r="r" b="b"/>
            <a:pathLst>
              <a:path w="792479" h="384175">
                <a:moveTo>
                  <a:pt x="756005" y="0"/>
                </a:moveTo>
                <a:lnTo>
                  <a:pt x="36004" y="0"/>
                </a:lnTo>
                <a:lnTo>
                  <a:pt x="21988" y="2828"/>
                </a:lnTo>
                <a:lnTo>
                  <a:pt x="10544" y="10542"/>
                </a:lnTo>
                <a:lnTo>
                  <a:pt x="2828" y="21983"/>
                </a:lnTo>
                <a:lnTo>
                  <a:pt x="0" y="35991"/>
                </a:lnTo>
                <a:lnTo>
                  <a:pt x="0" y="347700"/>
                </a:lnTo>
                <a:lnTo>
                  <a:pt x="2828" y="361716"/>
                </a:lnTo>
                <a:lnTo>
                  <a:pt x="10544" y="373160"/>
                </a:lnTo>
                <a:lnTo>
                  <a:pt x="21988" y="380876"/>
                </a:lnTo>
                <a:lnTo>
                  <a:pt x="36004" y="383705"/>
                </a:lnTo>
                <a:lnTo>
                  <a:pt x="756005" y="383705"/>
                </a:lnTo>
                <a:lnTo>
                  <a:pt x="770016" y="380876"/>
                </a:lnTo>
                <a:lnTo>
                  <a:pt x="781461" y="373160"/>
                </a:lnTo>
                <a:lnTo>
                  <a:pt x="789179" y="361716"/>
                </a:lnTo>
                <a:lnTo>
                  <a:pt x="792010" y="347700"/>
                </a:lnTo>
                <a:lnTo>
                  <a:pt x="792010" y="35991"/>
                </a:lnTo>
                <a:lnTo>
                  <a:pt x="789179" y="21983"/>
                </a:lnTo>
                <a:lnTo>
                  <a:pt x="781461" y="10542"/>
                </a:lnTo>
                <a:lnTo>
                  <a:pt x="770016" y="2828"/>
                </a:lnTo>
                <a:lnTo>
                  <a:pt x="756005" y="0"/>
                </a:lnTo>
                <a:close/>
              </a:path>
            </a:pathLst>
          </a:custGeom>
          <a:solidFill>
            <a:srgbClr val="7FBDD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 txBox="1"/>
          <p:nvPr/>
        </p:nvSpPr>
        <p:spPr>
          <a:xfrm>
            <a:off x="8883728" y="2334385"/>
            <a:ext cx="573164" cy="338433"/>
          </a:xfrm>
          <a:prstGeom prst="rect">
            <a:avLst/>
          </a:prstGeom>
        </p:spPr>
        <p:txBody>
          <a:bodyPr vert="horz" wrap="square" lIns="0" tIns="13693" rIns="0" bIns="0" rtlCol="0">
            <a:spAutoFit/>
          </a:bodyPr>
          <a:lstStyle/>
          <a:p>
            <a:pPr marL="13042">
              <a:spcBef>
                <a:spcPts val="108"/>
              </a:spcBef>
            </a:pPr>
            <a:r>
              <a:rPr lang="en-US" sz="1027" spc="-10">
                <a:solidFill>
                  <a:srgbClr val="FFFFFF"/>
                </a:solidFill>
                <a:latin typeface="AP Type Pro Text Medium"/>
                <a:cs typeface="AP Type Pro Text Medium"/>
              </a:rPr>
              <a:t>Online novices </a:t>
            </a:r>
            <a:endParaRPr lang="en-US" sz="1027">
              <a:latin typeface="AP Type Pro Text Medium"/>
              <a:cs typeface="AP Type Pro Text Medium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8734113" y="2107425"/>
            <a:ext cx="2378076" cy="241263"/>
          </a:xfrm>
          <a:custGeom>
            <a:avLst/>
            <a:gdLst/>
            <a:ahLst/>
            <a:cxnLst/>
            <a:rect l="l" t="t" r="r" b="b"/>
            <a:pathLst>
              <a:path w="2315845" h="234950">
                <a:moveTo>
                  <a:pt x="2279650" y="0"/>
                </a:moveTo>
                <a:lnTo>
                  <a:pt x="36004" y="0"/>
                </a:lnTo>
                <a:lnTo>
                  <a:pt x="21988" y="2828"/>
                </a:lnTo>
                <a:lnTo>
                  <a:pt x="10544" y="10542"/>
                </a:lnTo>
                <a:lnTo>
                  <a:pt x="2828" y="21983"/>
                </a:lnTo>
                <a:lnTo>
                  <a:pt x="0" y="35991"/>
                </a:lnTo>
                <a:lnTo>
                  <a:pt x="0" y="198716"/>
                </a:lnTo>
                <a:lnTo>
                  <a:pt x="2828" y="212732"/>
                </a:lnTo>
                <a:lnTo>
                  <a:pt x="10544" y="224177"/>
                </a:lnTo>
                <a:lnTo>
                  <a:pt x="21988" y="231892"/>
                </a:lnTo>
                <a:lnTo>
                  <a:pt x="36004" y="234721"/>
                </a:lnTo>
                <a:lnTo>
                  <a:pt x="2279650" y="234721"/>
                </a:lnTo>
                <a:lnTo>
                  <a:pt x="2293666" y="231892"/>
                </a:lnTo>
                <a:lnTo>
                  <a:pt x="2305110" y="224177"/>
                </a:lnTo>
                <a:lnTo>
                  <a:pt x="2312825" y="212732"/>
                </a:lnTo>
                <a:lnTo>
                  <a:pt x="2315654" y="198716"/>
                </a:lnTo>
                <a:lnTo>
                  <a:pt x="2315654" y="35991"/>
                </a:lnTo>
                <a:lnTo>
                  <a:pt x="2312825" y="21983"/>
                </a:lnTo>
                <a:lnTo>
                  <a:pt x="2305110" y="10542"/>
                </a:lnTo>
                <a:lnTo>
                  <a:pt x="2293666" y="2828"/>
                </a:lnTo>
                <a:lnTo>
                  <a:pt x="2279650" y="0"/>
                </a:lnTo>
                <a:close/>
              </a:path>
            </a:pathLst>
          </a:custGeom>
          <a:solidFill>
            <a:srgbClr val="007AA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8883727" y="2132527"/>
            <a:ext cx="1388243" cy="171883"/>
          </a:xfrm>
          <a:prstGeom prst="rect">
            <a:avLst/>
          </a:prstGeom>
        </p:spPr>
        <p:txBody>
          <a:bodyPr vert="horz" wrap="square" lIns="0" tIns="13693" rIns="0" bIns="0" rtlCol="0">
            <a:spAutoFit/>
          </a:bodyPr>
          <a:lstStyle/>
          <a:p>
            <a:pPr marL="13042">
              <a:spcBef>
                <a:spcPts val="108"/>
              </a:spcBef>
            </a:pPr>
            <a:r>
              <a:rPr lang="en-AU" sz="1027">
                <a:solidFill>
                  <a:srgbClr val="FFFFFF"/>
                </a:solidFill>
                <a:latin typeface="AP Type Pro Text Medium"/>
                <a:cs typeface="AP Type Pro Text Medium"/>
              </a:rPr>
              <a:t>Baby</a:t>
            </a:r>
            <a:r>
              <a:rPr lang="en-AU" sz="1027" spc="-15">
                <a:solidFill>
                  <a:srgbClr val="FFFFFF"/>
                </a:solidFill>
                <a:latin typeface="AP Type Pro Text Medium"/>
                <a:cs typeface="AP Type Pro Text Medium"/>
              </a:rPr>
              <a:t> </a:t>
            </a:r>
            <a:r>
              <a:rPr lang="en-AU" sz="1027">
                <a:solidFill>
                  <a:srgbClr val="FFFFFF"/>
                </a:solidFill>
                <a:latin typeface="AP Type Pro Text Medium"/>
                <a:cs typeface="AP Type Pro Text Medium"/>
              </a:rPr>
              <a:t>Boomers</a:t>
            </a:r>
            <a:r>
              <a:rPr lang="en-AU" sz="1027" spc="15">
                <a:solidFill>
                  <a:srgbClr val="FFFFFF"/>
                </a:solidFill>
                <a:latin typeface="AP Type Pro Text Medium"/>
                <a:cs typeface="AP Type Pro Text Medium"/>
              </a:rPr>
              <a:t> </a:t>
            </a:r>
            <a:r>
              <a:rPr lang="en-AU" sz="1027" spc="-26">
                <a:solidFill>
                  <a:srgbClr val="FFFFFF"/>
                </a:solidFill>
                <a:latin typeface="AP Type Pro Text Medium"/>
                <a:cs typeface="AP Type Pro Text Medium"/>
              </a:rPr>
              <a:t>(60-78)</a:t>
            </a:r>
            <a:endParaRPr lang="en-AU" sz="1027">
              <a:latin typeface="AP Type Pro Text Medium"/>
              <a:cs typeface="AP Type Pro Text Medium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932451" y="2460700"/>
            <a:ext cx="1593945" cy="1174722"/>
          </a:xfrm>
          <a:prstGeom prst="rect">
            <a:avLst/>
          </a:prstGeom>
        </p:spPr>
        <p:txBody>
          <a:bodyPr vert="horz" wrap="square" lIns="0" tIns="13693" rIns="0" bIns="0" rtlCol="0" anchor="t">
            <a:spAutoFit/>
          </a:bodyPr>
          <a:lstStyle/>
          <a:p>
            <a:pPr marL="13042">
              <a:lnSpc>
                <a:spcPct val="165106"/>
              </a:lnSpc>
              <a:spcBef>
                <a:spcPts val="108"/>
              </a:spcBef>
            </a:pPr>
            <a:r>
              <a:rPr lang="en-US" sz="3697" b="1" spc="-51">
                <a:solidFill>
                  <a:srgbClr val="DC1928"/>
                </a:solidFill>
                <a:latin typeface="AP Type Pro Text"/>
                <a:cs typeface="AP Type Pro Text"/>
              </a:rPr>
              <a:t>$10.6b</a:t>
            </a:r>
            <a:endParaRPr lang="en-US" sz="3697">
              <a:latin typeface="AP Type Pro Text"/>
              <a:cs typeface="AP Type Pro Text"/>
            </a:endParaRPr>
          </a:p>
          <a:p>
            <a:pPr marL="29341">
              <a:lnSpc>
                <a:spcPct val="157638"/>
              </a:lnSpc>
            </a:pPr>
            <a:r>
              <a:rPr lang="en-US" sz="1027">
                <a:latin typeface="AP Type Pro Text Medium"/>
                <a:cs typeface="AP Type Pro Text Medium"/>
              </a:rPr>
              <a:t>Online spend </a:t>
            </a:r>
          </a:p>
        </p:txBody>
      </p:sp>
      <p:sp>
        <p:nvSpPr>
          <p:cNvPr id="58" name="object 58"/>
          <p:cNvSpPr txBox="1"/>
          <p:nvPr/>
        </p:nvSpPr>
        <p:spPr>
          <a:xfrm>
            <a:off x="3587436" y="2460702"/>
            <a:ext cx="1755874" cy="1174722"/>
          </a:xfrm>
          <a:prstGeom prst="rect">
            <a:avLst/>
          </a:prstGeom>
        </p:spPr>
        <p:txBody>
          <a:bodyPr vert="horz" wrap="square" lIns="0" tIns="13693" rIns="0" bIns="0" rtlCol="0" anchor="t">
            <a:spAutoFit/>
          </a:bodyPr>
          <a:lstStyle/>
          <a:p>
            <a:pPr marL="13042">
              <a:lnSpc>
                <a:spcPct val="165106"/>
              </a:lnSpc>
              <a:spcBef>
                <a:spcPts val="108"/>
              </a:spcBef>
            </a:pPr>
            <a:r>
              <a:rPr lang="en-US" sz="3697" b="1" spc="-51">
                <a:solidFill>
                  <a:srgbClr val="007D82"/>
                </a:solidFill>
                <a:latin typeface="AP Type Pro Text"/>
                <a:cs typeface="AP Type Pro Text"/>
              </a:rPr>
              <a:t>$22.1b</a:t>
            </a:r>
            <a:endParaRPr lang="en-US" sz="3697">
              <a:latin typeface="AP Type Pro Text"/>
              <a:cs typeface="AP Type Pro Text"/>
            </a:endParaRPr>
          </a:p>
          <a:p>
            <a:pPr marL="29341">
              <a:lnSpc>
                <a:spcPct val="157638"/>
              </a:lnSpc>
            </a:pPr>
            <a:r>
              <a:rPr lang="en-US" sz="1027">
                <a:latin typeface="AP Type Pro Text Medium"/>
                <a:cs typeface="AP Type Pro Text Medium"/>
              </a:rPr>
              <a:t>Online spend </a:t>
            </a:r>
          </a:p>
        </p:txBody>
      </p:sp>
      <p:sp>
        <p:nvSpPr>
          <p:cNvPr id="60" name="object 60"/>
          <p:cNvSpPr txBox="1"/>
          <p:nvPr/>
        </p:nvSpPr>
        <p:spPr>
          <a:xfrm>
            <a:off x="8816965" y="2460702"/>
            <a:ext cx="1847185" cy="1174722"/>
          </a:xfrm>
          <a:prstGeom prst="rect">
            <a:avLst/>
          </a:prstGeom>
        </p:spPr>
        <p:txBody>
          <a:bodyPr vert="horz" wrap="square" lIns="0" tIns="13693" rIns="0" bIns="0" rtlCol="0" anchor="t">
            <a:spAutoFit/>
          </a:bodyPr>
          <a:lstStyle/>
          <a:p>
            <a:pPr marL="13042">
              <a:lnSpc>
                <a:spcPct val="165106"/>
              </a:lnSpc>
              <a:spcBef>
                <a:spcPts val="108"/>
              </a:spcBef>
            </a:pPr>
            <a:r>
              <a:rPr lang="en-US" sz="3697" b="1" spc="-51">
                <a:solidFill>
                  <a:srgbClr val="007AAB"/>
                </a:solidFill>
                <a:latin typeface="AP Type Pro Text"/>
                <a:cs typeface="AP Type Pro Text"/>
              </a:rPr>
              <a:t>$12.5b</a:t>
            </a:r>
            <a:endParaRPr lang="en-US" sz="3697">
              <a:latin typeface="AP Type Pro Text"/>
              <a:cs typeface="AP Type Pro Text"/>
            </a:endParaRPr>
          </a:p>
          <a:p>
            <a:pPr marL="29341">
              <a:lnSpc>
                <a:spcPct val="157638"/>
              </a:lnSpc>
            </a:pPr>
            <a:r>
              <a:rPr lang="en-US" sz="1027">
                <a:latin typeface="AP Type Pro Text Medium"/>
                <a:cs typeface="AP Type Pro Text Medium"/>
              </a:rPr>
              <a:t>Online spend </a:t>
            </a:r>
          </a:p>
        </p:txBody>
      </p:sp>
      <p:sp>
        <p:nvSpPr>
          <p:cNvPr id="38" name="object 51">
            <a:extLst>
              <a:ext uri="{FF2B5EF4-FFF2-40B4-BE49-F238E27FC236}">
                <a16:creationId xmlns:a16="http://schemas.microsoft.com/office/drawing/2014/main" id="{75C97742-D0DC-AAED-386F-8BC4F8F08906}"/>
              </a:ext>
            </a:extLst>
          </p:cNvPr>
          <p:cNvSpPr txBox="1"/>
          <p:nvPr/>
        </p:nvSpPr>
        <p:spPr>
          <a:xfrm>
            <a:off x="6174339" y="3270359"/>
            <a:ext cx="1829392" cy="1174722"/>
          </a:xfrm>
          <a:prstGeom prst="rect">
            <a:avLst/>
          </a:prstGeom>
        </p:spPr>
        <p:txBody>
          <a:bodyPr vert="horz" wrap="square" lIns="0" tIns="13693" rIns="0" bIns="0" rtlCol="0" anchor="t">
            <a:spAutoFit/>
          </a:bodyPr>
          <a:lstStyle/>
          <a:p>
            <a:pPr marL="13042">
              <a:lnSpc>
                <a:spcPct val="165106"/>
              </a:lnSpc>
              <a:spcBef>
                <a:spcPts val="108"/>
              </a:spcBef>
            </a:pPr>
            <a:r>
              <a:rPr lang="en-AU" sz="3697" b="1" spc="-51">
                <a:solidFill>
                  <a:srgbClr val="E5087D"/>
                </a:solidFill>
                <a:latin typeface="AP Type Pro Text"/>
                <a:cs typeface="AP Type Pro Text"/>
              </a:rPr>
              <a:t>+1%</a:t>
            </a:r>
            <a:endParaRPr lang="en-AU" sz="3697">
              <a:latin typeface="AP Type Pro Text"/>
              <a:cs typeface="AP Type Pro Text"/>
            </a:endParaRPr>
          </a:p>
          <a:p>
            <a:pPr marL="29341">
              <a:lnSpc>
                <a:spcPct val="157638"/>
              </a:lnSpc>
            </a:pPr>
            <a:r>
              <a:rPr lang="en-AU" sz="1027">
                <a:latin typeface="AP Type Pro Text Medium"/>
                <a:cs typeface="AP Type Pro Text Medium"/>
              </a:rPr>
              <a:t>YoY change in online spend</a:t>
            </a:r>
          </a:p>
        </p:txBody>
      </p:sp>
      <p:sp>
        <p:nvSpPr>
          <p:cNvPr id="39" name="object 57">
            <a:extLst>
              <a:ext uri="{FF2B5EF4-FFF2-40B4-BE49-F238E27FC236}">
                <a16:creationId xmlns:a16="http://schemas.microsoft.com/office/drawing/2014/main" id="{88444691-8F93-7732-5867-4102C187A4FC}"/>
              </a:ext>
            </a:extLst>
          </p:cNvPr>
          <p:cNvSpPr txBox="1"/>
          <p:nvPr/>
        </p:nvSpPr>
        <p:spPr>
          <a:xfrm>
            <a:off x="932453" y="3270359"/>
            <a:ext cx="1877943" cy="1174722"/>
          </a:xfrm>
          <a:prstGeom prst="rect">
            <a:avLst/>
          </a:prstGeom>
        </p:spPr>
        <p:txBody>
          <a:bodyPr vert="horz" wrap="square" lIns="0" tIns="13693" rIns="0" bIns="0" rtlCol="0" anchor="t">
            <a:spAutoFit/>
          </a:bodyPr>
          <a:lstStyle/>
          <a:p>
            <a:pPr marL="13042">
              <a:lnSpc>
                <a:spcPct val="165106"/>
              </a:lnSpc>
              <a:spcBef>
                <a:spcPts val="108"/>
              </a:spcBef>
            </a:pPr>
            <a:r>
              <a:rPr lang="en-AU" sz="3697" b="1" spc="-51">
                <a:solidFill>
                  <a:srgbClr val="DC1928"/>
                </a:solidFill>
                <a:latin typeface="AP Type Pro Text"/>
                <a:cs typeface="AP Type Pro Text"/>
              </a:rPr>
              <a:t>-11%</a:t>
            </a:r>
            <a:endParaRPr lang="en-AU" sz="3697">
              <a:latin typeface="AP Type Pro Text"/>
              <a:cs typeface="AP Type Pro Text"/>
            </a:endParaRPr>
          </a:p>
          <a:p>
            <a:pPr marL="29341">
              <a:lnSpc>
                <a:spcPct val="157638"/>
              </a:lnSpc>
            </a:pPr>
            <a:r>
              <a:rPr lang="en-AU" sz="1027">
                <a:latin typeface="AP Type Pro Text Medium"/>
                <a:cs typeface="AP Type Pro Text Medium"/>
              </a:rPr>
              <a:t>YoY change in online spend</a:t>
            </a:r>
          </a:p>
        </p:txBody>
      </p:sp>
      <p:sp>
        <p:nvSpPr>
          <p:cNvPr id="40" name="object 58">
            <a:extLst>
              <a:ext uri="{FF2B5EF4-FFF2-40B4-BE49-F238E27FC236}">
                <a16:creationId xmlns:a16="http://schemas.microsoft.com/office/drawing/2014/main" id="{14EEDC30-6CB8-F4A2-7D1E-B1ACDF99EA98}"/>
              </a:ext>
            </a:extLst>
          </p:cNvPr>
          <p:cNvSpPr txBox="1"/>
          <p:nvPr/>
        </p:nvSpPr>
        <p:spPr>
          <a:xfrm>
            <a:off x="3587436" y="3270359"/>
            <a:ext cx="1755874" cy="1174722"/>
          </a:xfrm>
          <a:prstGeom prst="rect">
            <a:avLst/>
          </a:prstGeom>
        </p:spPr>
        <p:txBody>
          <a:bodyPr vert="horz" wrap="square" lIns="0" tIns="13693" rIns="0" bIns="0" rtlCol="0" anchor="t">
            <a:spAutoFit/>
          </a:bodyPr>
          <a:lstStyle/>
          <a:p>
            <a:pPr marL="13042">
              <a:lnSpc>
                <a:spcPct val="165106"/>
              </a:lnSpc>
              <a:spcBef>
                <a:spcPts val="108"/>
              </a:spcBef>
            </a:pPr>
            <a:r>
              <a:rPr lang="en-AU" sz="3697" b="1" spc="-51">
                <a:solidFill>
                  <a:srgbClr val="007D82"/>
                </a:solidFill>
                <a:latin typeface="AP Type Pro Text"/>
                <a:cs typeface="AP Type Pro Text"/>
              </a:rPr>
              <a:t>-2%</a:t>
            </a:r>
            <a:endParaRPr lang="en-AU" sz="3697">
              <a:latin typeface="AP Type Pro Text"/>
              <a:cs typeface="AP Type Pro Text"/>
            </a:endParaRPr>
          </a:p>
          <a:p>
            <a:pPr marL="29341">
              <a:lnSpc>
                <a:spcPct val="157638"/>
              </a:lnSpc>
            </a:pPr>
            <a:r>
              <a:rPr lang="en-AU" sz="1027">
                <a:latin typeface="AP Type Pro Text Medium"/>
                <a:cs typeface="AP Type Pro Text Medium"/>
              </a:rPr>
              <a:t>YoY change in online spend</a:t>
            </a:r>
          </a:p>
        </p:txBody>
      </p:sp>
      <p:sp>
        <p:nvSpPr>
          <p:cNvPr id="41" name="object 60">
            <a:extLst>
              <a:ext uri="{FF2B5EF4-FFF2-40B4-BE49-F238E27FC236}">
                <a16:creationId xmlns:a16="http://schemas.microsoft.com/office/drawing/2014/main" id="{486974A0-6ADB-26AB-73F4-9B292F37FED4}"/>
              </a:ext>
            </a:extLst>
          </p:cNvPr>
          <p:cNvSpPr txBox="1"/>
          <p:nvPr/>
        </p:nvSpPr>
        <p:spPr>
          <a:xfrm>
            <a:off x="8816965" y="3270359"/>
            <a:ext cx="1847185" cy="1174722"/>
          </a:xfrm>
          <a:prstGeom prst="rect">
            <a:avLst/>
          </a:prstGeom>
        </p:spPr>
        <p:txBody>
          <a:bodyPr vert="horz" wrap="square" lIns="0" tIns="13693" rIns="0" bIns="0" rtlCol="0" anchor="t">
            <a:spAutoFit/>
          </a:bodyPr>
          <a:lstStyle/>
          <a:p>
            <a:pPr marL="13042">
              <a:lnSpc>
                <a:spcPct val="165106"/>
              </a:lnSpc>
              <a:spcBef>
                <a:spcPts val="108"/>
              </a:spcBef>
            </a:pPr>
            <a:r>
              <a:rPr lang="en-AU" sz="3697" b="1" spc="-51">
                <a:solidFill>
                  <a:srgbClr val="007AAB"/>
                </a:solidFill>
                <a:latin typeface="AP Type Pro Text"/>
                <a:cs typeface="AP Type Pro Text"/>
              </a:rPr>
              <a:t>+7%</a:t>
            </a:r>
            <a:endParaRPr lang="en-AU" sz="3697">
              <a:latin typeface="AP Type Pro Text"/>
              <a:cs typeface="AP Type Pro Text"/>
            </a:endParaRPr>
          </a:p>
          <a:p>
            <a:pPr marL="29341">
              <a:lnSpc>
                <a:spcPct val="157638"/>
              </a:lnSpc>
            </a:pPr>
            <a:r>
              <a:rPr lang="en-AU" sz="1027">
                <a:latin typeface="AP Type Pro Text Medium"/>
                <a:cs typeface="AP Type Pro Text Medium"/>
              </a:rPr>
              <a:t>YoY change in online spend</a:t>
            </a:r>
          </a:p>
        </p:txBody>
      </p:sp>
      <p:sp>
        <p:nvSpPr>
          <p:cNvPr id="43" name="object 51">
            <a:extLst>
              <a:ext uri="{FF2B5EF4-FFF2-40B4-BE49-F238E27FC236}">
                <a16:creationId xmlns:a16="http://schemas.microsoft.com/office/drawing/2014/main" id="{3A842807-2060-34B4-F7AB-85F729671EBF}"/>
              </a:ext>
            </a:extLst>
          </p:cNvPr>
          <p:cNvSpPr txBox="1"/>
          <p:nvPr/>
        </p:nvSpPr>
        <p:spPr>
          <a:xfrm>
            <a:off x="6174339" y="4284198"/>
            <a:ext cx="1829392" cy="1174722"/>
          </a:xfrm>
          <a:prstGeom prst="rect">
            <a:avLst/>
          </a:prstGeom>
        </p:spPr>
        <p:txBody>
          <a:bodyPr vert="horz" wrap="square" lIns="0" tIns="13693" rIns="0" bIns="0" rtlCol="0" anchor="t">
            <a:spAutoFit/>
          </a:bodyPr>
          <a:lstStyle/>
          <a:p>
            <a:pPr marL="13042">
              <a:lnSpc>
                <a:spcPct val="165106"/>
              </a:lnSpc>
              <a:spcBef>
                <a:spcPts val="108"/>
              </a:spcBef>
            </a:pPr>
            <a:r>
              <a:rPr lang="en-AU" sz="3697" b="1" spc="-51">
                <a:solidFill>
                  <a:srgbClr val="E5087D"/>
                </a:solidFill>
                <a:latin typeface="AP Type Pro Text"/>
                <a:cs typeface="AP Type Pro Text"/>
              </a:rPr>
              <a:t>$110</a:t>
            </a:r>
            <a:endParaRPr lang="en-AU" sz="3697">
              <a:latin typeface="AP Type Pro Text"/>
              <a:cs typeface="AP Type Pro Text"/>
            </a:endParaRPr>
          </a:p>
          <a:p>
            <a:pPr marL="29341">
              <a:lnSpc>
                <a:spcPct val="157638"/>
              </a:lnSpc>
            </a:pPr>
            <a:r>
              <a:rPr lang="en-AU" sz="1027">
                <a:latin typeface="AP Type Pro Text Medium"/>
                <a:cs typeface="AP Type Pro Text Medium"/>
              </a:rPr>
              <a:t>Average basket size</a:t>
            </a:r>
          </a:p>
        </p:txBody>
      </p:sp>
      <p:sp>
        <p:nvSpPr>
          <p:cNvPr id="44" name="object 57">
            <a:extLst>
              <a:ext uri="{FF2B5EF4-FFF2-40B4-BE49-F238E27FC236}">
                <a16:creationId xmlns:a16="http://schemas.microsoft.com/office/drawing/2014/main" id="{D80D5885-E703-8EC6-8228-C0B93D735AE5}"/>
              </a:ext>
            </a:extLst>
          </p:cNvPr>
          <p:cNvSpPr txBox="1"/>
          <p:nvPr/>
        </p:nvSpPr>
        <p:spPr>
          <a:xfrm>
            <a:off x="932453" y="4284198"/>
            <a:ext cx="1877943" cy="1174722"/>
          </a:xfrm>
          <a:prstGeom prst="rect">
            <a:avLst/>
          </a:prstGeom>
        </p:spPr>
        <p:txBody>
          <a:bodyPr vert="horz" wrap="square" lIns="0" tIns="13693" rIns="0" bIns="0" rtlCol="0" anchor="t">
            <a:spAutoFit/>
          </a:bodyPr>
          <a:lstStyle/>
          <a:p>
            <a:pPr marL="13042">
              <a:lnSpc>
                <a:spcPct val="165106"/>
              </a:lnSpc>
              <a:spcBef>
                <a:spcPts val="108"/>
              </a:spcBef>
            </a:pPr>
            <a:r>
              <a:rPr lang="en-US" sz="3697" b="1" spc="-51">
                <a:solidFill>
                  <a:srgbClr val="DC1928"/>
                </a:solidFill>
                <a:latin typeface="AP Type Pro Text"/>
                <a:cs typeface="AP Type Pro Text"/>
              </a:rPr>
              <a:t>$80</a:t>
            </a:r>
            <a:endParaRPr lang="en-US" sz="3697">
              <a:latin typeface="AP Type Pro Text"/>
              <a:cs typeface="AP Type Pro Text"/>
            </a:endParaRPr>
          </a:p>
          <a:p>
            <a:pPr marL="29341">
              <a:lnSpc>
                <a:spcPct val="157638"/>
              </a:lnSpc>
            </a:pPr>
            <a:r>
              <a:rPr lang="en-US" sz="1027">
                <a:latin typeface="AP Type Pro Text Medium"/>
                <a:cs typeface="AP Type Pro Text Medium"/>
              </a:rPr>
              <a:t>Average basket size </a:t>
            </a:r>
          </a:p>
        </p:txBody>
      </p:sp>
      <p:sp>
        <p:nvSpPr>
          <p:cNvPr id="45" name="object 58">
            <a:extLst>
              <a:ext uri="{FF2B5EF4-FFF2-40B4-BE49-F238E27FC236}">
                <a16:creationId xmlns:a16="http://schemas.microsoft.com/office/drawing/2014/main" id="{D2EB1D44-5630-FD7A-932E-8ECF79FCC6FA}"/>
              </a:ext>
            </a:extLst>
          </p:cNvPr>
          <p:cNvSpPr txBox="1"/>
          <p:nvPr/>
        </p:nvSpPr>
        <p:spPr>
          <a:xfrm>
            <a:off x="3587436" y="4284198"/>
            <a:ext cx="1755874" cy="1174722"/>
          </a:xfrm>
          <a:prstGeom prst="rect">
            <a:avLst/>
          </a:prstGeom>
        </p:spPr>
        <p:txBody>
          <a:bodyPr vert="horz" wrap="square" lIns="0" tIns="13693" rIns="0" bIns="0" rtlCol="0" anchor="t">
            <a:spAutoFit/>
          </a:bodyPr>
          <a:lstStyle/>
          <a:p>
            <a:pPr marL="13042">
              <a:lnSpc>
                <a:spcPct val="165106"/>
              </a:lnSpc>
              <a:spcBef>
                <a:spcPts val="108"/>
              </a:spcBef>
            </a:pPr>
            <a:r>
              <a:rPr lang="en-AU" sz="3697" b="1" spc="-51">
                <a:solidFill>
                  <a:srgbClr val="007D82"/>
                </a:solidFill>
                <a:latin typeface="AP Type Pro Text"/>
                <a:cs typeface="AP Type Pro Text"/>
              </a:rPr>
              <a:t>$95</a:t>
            </a:r>
            <a:endParaRPr lang="en-AU" sz="3697">
              <a:latin typeface="AP Type Pro Text"/>
              <a:cs typeface="AP Type Pro Text"/>
            </a:endParaRPr>
          </a:p>
          <a:p>
            <a:pPr marL="29341">
              <a:lnSpc>
                <a:spcPct val="157638"/>
              </a:lnSpc>
            </a:pPr>
            <a:r>
              <a:rPr lang="en-AU" sz="1027">
                <a:latin typeface="AP Type Pro Text Medium"/>
                <a:cs typeface="AP Type Pro Text Medium"/>
              </a:rPr>
              <a:t>Average basket size</a:t>
            </a:r>
          </a:p>
        </p:txBody>
      </p:sp>
      <p:sp>
        <p:nvSpPr>
          <p:cNvPr id="46" name="object 60">
            <a:extLst>
              <a:ext uri="{FF2B5EF4-FFF2-40B4-BE49-F238E27FC236}">
                <a16:creationId xmlns:a16="http://schemas.microsoft.com/office/drawing/2014/main" id="{64B8A782-E972-AE43-8CA3-ABECD9CA1A57}"/>
              </a:ext>
            </a:extLst>
          </p:cNvPr>
          <p:cNvSpPr txBox="1"/>
          <p:nvPr/>
        </p:nvSpPr>
        <p:spPr>
          <a:xfrm>
            <a:off x="8816965" y="4284198"/>
            <a:ext cx="1847185" cy="1174722"/>
          </a:xfrm>
          <a:prstGeom prst="rect">
            <a:avLst/>
          </a:prstGeom>
        </p:spPr>
        <p:txBody>
          <a:bodyPr vert="horz" wrap="square" lIns="0" tIns="13693" rIns="0" bIns="0" rtlCol="0" anchor="t">
            <a:spAutoFit/>
          </a:bodyPr>
          <a:lstStyle/>
          <a:p>
            <a:pPr marL="13042">
              <a:lnSpc>
                <a:spcPct val="165106"/>
              </a:lnSpc>
              <a:spcBef>
                <a:spcPts val="108"/>
              </a:spcBef>
            </a:pPr>
            <a:r>
              <a:rPr lang="en-AU" sz="3697" b="1" spc="-51">
                <a:solidFill>
                  <a:srgbClr val="007AAB"/>
                </a:solidFill>
                <a:latin typeface="AP Type Pro Text"/>
                <a:cs typeface="AP Type Pro Text"/>
              </a:rPr>
              <a:t>$109</a:t>
            </a:r>
            <a:endParaRPr lang="en-AU" sz="3697">
              <a:latin typeface="AP Type Pro Text"/>
              <a:cs typeface="AP Type Pro Text"/>
            </a:endParaRPr>
          </a:p>
          <a:p>
            <a:pPr marL="29341">
              <a:lnSpc>
                <a:spcPct val="157638"/>
              </a:lnSpc>
            </a:pPr>
            <a:r>
              <a:rPr lang="en-AU" sz="1027">
                <a:latin typeface="AP Type Pro Text Medium"/>
                <a:cs typeface="AP Type Pro Text Medium"/>
              </a:rPr>
              <a:t>Average basket size </a:t>
            </a:r>
          </a:p>
        </p:txBody>
      </p:sp>
      <p:sp>
        <p:nvSpPr>
          <p:cNvPr id="4" name="object 51">
            <a:extLst>
              <a:ext uri="{FF2B5EF4-FFF2-40B4-BE49-F238E27FC236}">
                <a16:creationId xmlns:a16="http://schemas.microsoft.com/office/drawing/2014/main" id="{63598666-4014-D97F-811B-A85887D893D3}"/>
              </a:ext>
            </a:extLst>
          </p:cNvPr>
          <p:cNvSpPr txBox="1"/>
          <p:nvPr/>
        </p:nvSpPr>
        <p:spPr>
          <a:xfrm>
            <a:off x="6174339" y="5077989"/>
            <a:ext cx="1829392" cy="1174722"/>
          </a:xfrm>
          <a:prstGeom prst="rect">
            <a:avLst/>
          </a:prstGeom>
        </p:spPr>
        <p:txBody>
          <a:bodyPr vert="horz" wrap="square" lIns="0" tIns="13693" rIns="0" bIns="0" rtlCol="0" anchor="t">
            <a:spAutoFit/>
          </a:bodyPr>
          <a:lstStyle/>
          <a:p>
            <a:pPr marL="13042">
              <a:lnSpc>
                <a:spcPct val="165106"/>
              </a:lnSpc>
              <a:spcBef>
                <a:spcPts val="108"/>
              </a:spcBef>
            </a:pPr>
            <a:r>
              <a:rPr lang="en-AU" sz="3697" b="1" spc="-51">
                <a:solidFill>
                  <a:srgbClr val="E5087D"/>
                </a:solidFill>
                <a:latin typeface="AP Type Pro Text"/>
                <a:cs typeface="AP Type Pro Text"/>
              </a:rPr>
              <a:t>-5%</a:t>
            </a:r>
            <a:endParaRPr lang="en-AU" sz="3697">
              <a:latin typeface="AP Type Pro Text"/>
              <a:cs typeface="AP Type Pro Text"/>
            </a:endParaRPr>
          </a:p>
          <a:p>
            <a:pPr marL="29341">
              <a:lnSpc>
                <a:spcPct val="157638"/>
              </a:lnSpc>
            </a:pPr>
            <a:r>
              <a:rPr lang="en-AU" sz="1027">
                <a:latin typeface="AP Type Pro Text Medium"/>
                <a:cs typeface="AP Type Pro Text Medium"/>
              </a:rPr>
              <a:t>YoY change in basket size</a:t>
            </a:r>
          </a:p>
        </p:txBody>
      </p:sp>
      <p:sp>
        <p:nvSpPr>
          <p:cNvPr id="13" name="object 57">
            <a:extLst>
              <a:ext uri="{FF2B5EF4-FFF2-40B4-BE49-F238E27FC236}">
                <a16:creationId xmlns:a16="http://schemas.microsoft.com/office/drawing/2014/main" id="{52321B9E-C016-B930-76AC-70501B746672}"/>
              </a:ext>
            </a:extLst>
          </p:cNvPr>
          <p:cNvSpPr txBox="1"/>
          <p:nvPr/>
        </p:nvSpPr>
        <p:spPr>
          <a:xfrm>
            <a:off x="932453" y="5077989"/>
            <a:ext cx="1877943" cy="1174722"/>
          </a:xfrm>
          <a:prstGeom prst="rect">
            <a:avLst/>
          </a:prstGeom>
        </p:spPr>
        <p:txBody>
          <a:bodyPr vert="horz" wrap="square" lIns="0" tIns="13693" rIns="0" bIns="0" rtlCol="0" anchor="t">
            <a:spAutoFit/>
          </a:bodyPr>
          <a:lstStyle/>
          <a:p>
            <a:pPr marL="13042">
              <a:lnSpc>
                <a:spcPct val="165106"/>
              </a:lnSpc>
              <a:spcBef>
                <a:spcPts val="108"/>
              </a:spcBef>
            </a:pPr>
            <a:r>
              <a:rPr lang="en-AU" sz="3697" b="1" spc="-51">
                <a:solidFill>
                  <a:srgbClr val="DC1928"/>
                </a:solidFill>
                <a:latin typeface="AP Type Pro Text"/>
                <a:cs typeface="AP Type Pro Text"/>
              </a:rPr>
              <a:t>-6%</a:t>
            </a:r>
            <a:endParaRPr lang="en-AU" sz="3697">
              <a:latin typeface="AP Type Pro Text"/>
              <a:cs typeface="AP Type Pro Text"/>
            </a:endParaRPr>
          </a:p>
          <a:p>
            <a:pPr marL="29341">
              <a:lnSpc>
                <a:spcPct val="157638"/>
              </a:lnSpc>
            </a:pPr>
            <a:r>
              <a:rPr lang="en-AU" sz="1027">
                <a:latin typeface="AP Type Pro Text Medium"/>
                <a:cs typeface="AP Type Pro Text Medium"/>
              </a:rPr>
              <a:t>YoY change in basket size</a:t>
            </a:r>
          </a:p>
        </p:txBody>
      </p:sp>
      <p:sp>
        <p:nvSpPr>
          <p:cNvPr id="23" name="object 58">
            <a:extLst>
              <a:ext uri="{FF2B5EF4-FFF2-40B4-BE49-F238E27FC236}">
                <a16:creationId xmlns:a16="http://schemas.microsoft.com/office/drawing/2014/main" id="{794C5EEF-1191-104C-51A9-2AA93F088E32}"/>
              </a:ext>
            </a:extLst>
          </p:cNvPr>
          <p:cNvSpPr txBox="1"/>
          <p:nvPr/>
        </p:nvSpPr>
        <p:spPr>
          <a:xfrm>
            <a:off x="3587436" y="5077989"/>
            <a:ext cx="1755874" cy="1174722"/>
          </a:xfrm>
          <a:prstGeom prst="rect">
            <a:avLst/>
          </a:prstGeom>
        </p:spPr>
        <p:txBody>
          <a:bodyPr vert="horz" wrap="square" lIns="0" tIns="13693" rIns="0" bIns="0" rtlCol="0" anchor="t">
            <a:spAutoFit/>
          </a:bodyPr>
          <a:lstStyle/>
          <a:p>
            <a:pPr marL="13042">
              <a:lnSpc>
                <a:spcPct val="165106"/>
              </a:lnSpc>
              <a:spcBef>
                <a:spcPts val="108"/>
              </a:spcBef>
            </a:pPr>
            <a:r>
              <a:rPr lang="en-AU" sz="3697" b="1" spc="-51">
                <a:solidFill>
                  <a:srgbClr val="007D82"/>
                </a:solidFill>
                <a:latin typeface="AP Type Pro Text"/>
                <a:cs typeface="AP Type Pro Text"/>
              </a:rPr>
              <a:t>-6%</a:t>
            </a:r>
            <a:endParaRPr lang="en-AU" sz="3697">
              <a:latin typeface="AP Type Pro Text"/>
              <a:cs typeface="AP Type Pro Text"/>
            </a:endParaRPr>
          </a:p>
          <a:p>
            <a:pPr marL="29341">
              <a:lnSpc>
                <a:spcPct val="157638"/>
              </a:lnSpc>
            </a:pPr>
            <a:r>
              <a:rPr lang="en-AU" sz="1027">
                <a:latin typeface="AP Type Pro Text Medium"/>
                <a:cs typeface="AP Type Pro Text Medium"/>
              </a:rPr>
              <a:t>YoY change in basket size</a:t>
            </a:r>
          </a:p>
        </p:txBody>
      </p:sp>
      <p:sp>
        <p:nvSpPr>
          <p:cNvPr id="29" name="object 60">
            <a:extLst>
              <a:ext uri="{FF2B5EF4-FFF2-40B4-BE49-F238E27FC236}">
                <a16:creationId xmlns:a16="http://schemas.microsoft.com/office/drawing/2014/main" id="{EE9FC273-2553-2523-69AE-81999B2F4343}"/>
              </a:ext>
            </a:extLst>
          </p:cNvPr>
          <p:cNvSpPr txBox="1"/>
          <p:nvPr/>
        </p:nvSpPr>
        <p:spPr>
          <a:xfrm>
            <a:off x="8816965" y="5077989"/>
            <a:ext cx="1847185" cy="1174722"/>
          </a:xfrm>
          <a:prstGeom prst="rect">
            <a:avLst/>
          </a:prstGeom>
        </p:spPr>
        <p:txBody>
          <a:bodyPr vert="horz" wrap="square" lIns="0" tIns="13693" rIns="0" bIns="0" rtlCol="0" anchor="t">
            <a:spAutoFit/>
          </a:bodyPr>
          <a:lstStyle/>
          <a:p>
            <a:pPr marL="13042">
              <a:lnSpc>
                <a:spcPct val="165106"/>
              </a:lnSpc>
              <a:spcBef>
                <a:spcPts val="108"/>
              </a:spcBef>
            </a:pPr>
            <a:r>
              <a:rPr lang="en-AU" sz="3697" b="1" spc="-51">
                <a:solidFill>
                  <a:srgbClr val="007AAB"/>
                </a:solidFill>
                <a:latin typeface="AP Type Pro Text"/>
                <a:cs typeface="AP Type Pro Text"/>
              </a:rPr>
              <a:t>-3%</a:t>
            </a:r>
            <a:endParaRPr lang="en-AU" sz="3697">
              <a:latin typeface="AP Type Pro Text"/>
              <a:cs typeface="AP Type Pro Text"/>
            </a:endParaRPr>
          </a:p>
          <a:p>
            <a:pPr marL="29341">
              <a:lnSpc>
                <a:spcPct val="157638"/>
              </a:lnSpc>
            </a:pPr>
            <a:r>
              <a:rPr lang="en-AU" sz="1027">
                <a:latin typeface="AP Type Pro Text Medium"/>
                <a:cs typeface="AP Type Pro Text Medium"/>
              </a:rPr>
              <a:t>YoY change in basket size</a:t>
            </a:r>
          </a:p>
        </p:txBody>
      </p:sp>
      <p:sp>
        <p:nvSpPr>
          <p:cNvPr id="42" name="object 6">
            <a:extLst>
              <a:ext uri="{FF2B5EF4-FFF2-40B4-BE49-F238E27FC236}">
                <a16:creationId xmlns:a16="http://schemas.microsoft.com/office/drawing/2014/main" id="{83401C6F-17AC-3D84-91DC-2EF4D7179EF3}"/>
              </a:ext>
            </a:extLst>
          </p:cNvPr>
          <p:cNvSpPr txBox="1"/>
          <p:nvPr/>
        </p:nvSpPr>
        <p:spPr>
          <a:xfrm>
            <a:off x="843728" y="6430766"/>
            <a:ext cx="5409561" cy="520829"/>
          </a:xfrm>
          <a:prstGeom prst="rect">
            <a:avLst/>
          </a:prstGeom>
        </p:spPr>
        <p:txBody>
          <a:bodyPr vert="horz" wrap="square" lIns="0" tIns="59989" rIns="0" bIns="0" rtlCol="0">
            <a:spAutoFit/>
          </a:bodyPr>
          <a:lstStyle/>
          <a:p>
            <a:pPr marL="13040">
              <a:spcBef>
                <a:spcPts val="471"/>
              </a:spcBef>
              <a:tabLst>
                <a:tab pos="117364" algn="l"/>
              </a:tabLst>
            </a:pPr>
            <a:r>
              <a:rPr lang="en-US" sz="719" spc="-10">
                <a:latin typeface="AP Type Pro Text Light"/>
                <a:cs typeface="AP Type Pro Text Light"/>
              </a:rPr>
              <a:t>Source: CommBank </a:t>
            </a:r>
            <a:r>
              <a:rPr lang="en-US" sz="719" spc="-10" err="1">
                <a:latin typeface="AP Type Pro Text Light"/>
                <a:cs typeface="AP Type Pro Text Light"/>
              </a:rPr>
              <a:t>iQ</a:t>
            </a:r>
            <a:r>
              <a:rPr lang="en-US" sz="719" spc="-10">
                <a:latin typeface="AP Type Pro Text Light"/>
                <a:cs typeface="AP Type Pro Text Light"/>
              </a:rPr>
              <a:t>, Jan 2024</a:t>
            </a:r>
          </a:p>
          <a:p>
            <a:pPr marL="13040">
              <a:spcBef>
                <a:spcPts val="471"/>
              </a:spcBef>
              <a:tabLst>
                <a:tab pos="117364" algn="l"/>
              </a:tabLst>
            </a:pPr>
            <a:r>
              <a:rPr lang="en-US" sz="719" spc="-10">
                <a:latin typeface="AP Type Pro Text Light"/>
                <a:cs typeface="AP Type Pro Text Light"/>
              </a:rPr>
              <a:t>*</a:t>
            </a:r>
            <a:r>
              <a:rPr lang="en-AU" sz="719" spc="-10">
                <a:latin typeface="AP Type Pro Text Light"/>
                <a:cs typeface="AP Type Pro Text Light"/>
              </a:rPr>
              <a:t>Online penetration by generation =  [generation online spend]/ [generation online &amp; In-store spend]</a:t>
            </a:r>
          </a:p>
          <a:p>
            <a:pPr marL="13040">
              <a:spcBef>
                <a:spcPts val="471"/>
              </a:spcBef>
              <a:tabLst>
                <a:tab pos="117364" algn="l"/>
              </a:tabLst>
            </a:pPr>
            <a:endParaRPr sz="719">
              <a:latin typeface="AP Type Pro Text Light"/>
              <a:cs typeface="AP Type Pro Text Light"/>
            </a:endParaRPr>
          </a:p>
        </p:txBody>
      </p:sp>
      <p:sp>
        <p:nvSpPr>
          <p:cNvPr id="74" name="object 3">
            <a:extLst>
              <a:ext uri="{FF2B5EF4-FFF2-40B4-BE49-F238E27FC236}">
                <a16:creationId xmlns:a16="http://schemas.microsoft.com/office/drawing/2014/main" id="{60FD88D9-8726-232A-DD7D-B5DCFE7F1AF4}"/>
              </a:ext>
            </a:extLst>
          </p:cNvPr>
          <p:cNvSpPr/>
          <p:nvPr/>
        </p:nvSpPr>
        <p:spPr>
          <a:xfrm>
            <a:off x="671932" y="557163"/>
            <a:ext cx="48158" cy="5767437"/>
          </a:xfrm>
          <a:custGeom>
            <a:avLst/>
            <a:gdLst/>
            <a:ahLst/>
            <a:cxnLst/>
            <a:rect l="l" t="t" r="r" b="b"/>
            <a:pathLst>
              <a:path h="6264275">
                <a:moveTo>
                  <a:pt x="0" y="0"/>
                </a:moveTo>
                <a:lnTo>
                  <a:pt x="0" y="6263995"/>
                </a:lnTo>
              </a:path>
            </a:pathLst>
          </a:custGeom>
          <a:ln w="12700">
            <a:solidFill>
              <a:srgbClr val="007C8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2">
            <a:extLst>
              <a:ext uri="{FF2B5EF4-FFF2-40B4-BE49-F238E27FC236}">
                <a16:creationId xmlns:a16="http://schemas.microsoft.com/office/drawing/2014/main" id="{1CE02863-C873-4EB8-69E6-5EBB1AD81C9C}"/>
              </a:ext>
            </a:extLst>
          </p:cNvPr>
          <p:cNvSpPr txBox="1">
            <a:spLocks/>
          </p:cNvSpPr>
          <p:nvPr/>
        </p:nvSpPr>
        <p:spPr>
          <a:xfrm>
            <a:off x="809483" y="694535"/>
            <a:ext cx="7079650" cy="1153678"/>
          </a:xfrm>
          <a:prstGeom prst="rect">
            <a:avLst/>
          </a:prstGeom>
        </p:spPr>
        <p:txBody>
          <a:bodyPr vert="horz" wrap="square" lIns="0" tIns="15650" rIns="0" bIns="0" rtlCol="0" anchor="t">
            <a:spAutoFit/>
          </a:bodyPr>
          <a:lstStyle>
            <a:lvl1pPr>
              <a:defRPr sz="4005" b="1" i="0">
                <a:solidFill>
                  <a:schemeClr val="bg1"/>
                </a:solidFill>
                <a:latin typeface="AP Type Pro Display Bold"/>
                <a:ea typeface="+mj-ea"/>
                <a:cs typeface="AP Type Pro Display Bold"/>
              </a:defRPr>
            </a:lvl1pPr>
          </a:lstStyle>
          <a:p>
            <a:pPr marL="13042"/>
            <a:r>
              <a:rPr lang="en-AU" sz="3697" b="0" spc="-26">
                <a:solidFill>
                  <a:srgbClr val="000000"/>
                </a:solidFill>
                <a:latin typeface="AP Type Pro Text Medium"/>
                <a:cs typeface="AP Type Pro Text Medium"/>
              </a:rPr>
              <a:t>Consumer </a:t>
            </a:r>
            <a:r>
              <a:rPr lang="en-AU" sz="3697" b="0" kern="1200" spc="-26">
                <a:solidFill>
                  <a:srgbClr val="000000"/>
                </a:solidFill>
                <a:latin typeface="AP Type Pro Text Medium"/>
                <a:ea typeface="Roboto" panose="02000000000000000000" pitchFamily="2" charset="0"/>
              </a:rPr>
              <a:t>spending</a:t>
            </a:r>
            <a:r>
              <a:rPr lang="en-AU" sz="3697" b="0" spc="-26">
                <a:solidFill>
                  <a:srgbClr val="000000"/>
                </a:solidFill>
                <a:latin typeface="AP Type Pro Text Medium"/>
                <a:cs typeface="AP Type Pro Text Medium"/>
              </a:rPr>
              <a:t> by generation</a:t>
            </a:r>
            <a:endParaRPr lang="en-AU" sz="3697" b="0">
              <a:latin typeface="AP Type Pro Text Medium"/>
              <a:cs typeface="AP Type Pro Text Medium"/>
            </a:endParaRPr>
          </a:p>
        </p:txBody>
      </p:sp>
      <p:sp>
        <p:nvSpPr>
          <p:cNvPr id="76" name="object 3">
            <a:extLst>
              <a:ext uri="{FF2B5EF4-FFF2-40B4-BE49-F238E27FC236}">
                <a16:creationId xmlns:a16="http://schemas.microsoft.com/office/drawing/2014/main" id="{E1863723-F0C0-0835-AC0A-0F30F3FEA7AF}"/>
              </a:ext>
            </a:extLst>
          </p:cNvPr>
          <p:cNvSpPr txBox="1"/>
          <p:nvPr/>
        </p:nvSpPr>
        <p:spPr>
          <a:xfrm>
            <a:off x="843728" y="503014"/>
            <a:ext cx="2415037" cy="202772"/>
          </a:xfrm>
          <a:prstGeom prst="rect">
            <a:avLst/>
          </a:prstGeom>
        </p:spPr>
        <p:txBody>
          <a:bodyPr vert="horz" wrap="square" lIns="0" tIns="13041" rIns="0" bIns="0" rtlCol="0">
            <a:spAutoFit/>
          </a:bodyPr>
          <a:lstStyle/>
          <a:p>
            <a:pPr marL="13042">
              <a:spcBef>
                <a:spcPts val="103"/>
              </a:spcBef>
            </a:pPr>
            <a:r>
              <a:rPr lang="en-US" sz="1232">
                <a:latin typeface="AP Type Pro Text Medium"/>
                <a:cs typeface="AP Type Pro Text Medium"/>
              </a:rPr>
              <a:t>Across the Generations</a:t>
            </a:r>
            <a:endParaRPr sz="1232">
              <a:latin typeface="AP Type Pro Text Medium"/>
              <a:cs typeface="AP Type Pro Text Medium"/>
            </a:endParaRPr>
          </a:p>
        </p:txBody>
      </p:sp>
      <p:sp>
        <p:nvSpPr>
          <p:cNvPr id="80" name="object 15">
            <a:extLst>
              <a:ext uri="{FF2B5EF4-FFF2-40B4-BE49-F238E27FC236}">
                <a16:creationId xmlns:a16="http://schemas.microsoft.com/office/drawing/2014/main" id="{98CDBCF6-A8FA-B532-A791-BCDABE26F9B9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11722251" y="6446096"/>
            <a:ext cx="219092" cy="195554"/>
          </a:xfrm>
          <a:prstGeom prst="rect">
            <a:avLst/>
          </a:prstGeom>
        </p:spPr>
        <p:txBody>
          <a:bodyPr vert="horz" wrap="square" lIns="0" tIns="37168" rIns="0" bIns="0" rtlCol="0">
            <a:spAutoFit/>
          </a:bodyPr>
          <a:lstStyle/>
          <a:p>
            <a:pPr marL="39123">
              <a:spcBef>
                <a:spcPts val="293"/>
              </a:spcBef>
            </a:pPr>
            <a:fld id="{81D60167-4931-47E6-BA6A-407CBD079E47}" type="slidenum">
              <a:rPr spc="-26" dirty="0"/>
              <a:pPr marL="39123">
                <a:spcBef>
                  <a:spcPts val="293"/>
                </a:spcBef>
              </a:pPr>
              <a:t>5</a:t>
            </a:fld>
            <a:endParaRPr spc="-26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2F28C57-ABF9-65C9-9D43-B8B55F2F3277}"/>
              </a:ext>
            </a:extLst>
          </p:cNvPr>
          <p:cNvSpPr txBox="1"/>
          <p:nvPr/>
        </p:nvSpPr>
        <p:spPr>
          <a:xfrm>
            <a:off x="10812446" y="1233195"/>
            <a:ext cx="6463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800">
                <a:latin typeface="AP Type Text" panose="020B0503030202060203" pitchFamily="34" charset="0"/>
              </a:rPr>
              <a:t>In-store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C22BBB15-372C-E928-98EB-766A6886AD74}"/>
              </a:ext>
            </a:extLst>
          </p:cNvPr>
          <p:cNvSpPr txBox="1"/>
          <p:nvPr/>
        </p:nvSpPr>
        <p:spPr>
          <a:xfrm>
            <a:off x="10847278" y="849393"/>
            <a:ext cx="52931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900" b="1">
                <a:latin typeface="AP Type Text" panose="020B0503030202060203" pitchFamily="34" charset="0"/>
              </a:rPr>
              <a:t>online</a:t>
            </a:r>
          </a:p>
        </p:txBody>
      </p:sp>
      <p:graphicFrame>
        <p:nvGraphicFramePr>
          <p:cNvPr id="87" name="Chart 86">
            <a:extLst>
              <a:ext uri="{FF2B5EF4-FFF2-40B4-BE49-F238E27FC236}">
                <a16:creationId xmlns:a16="http://schemas.microsoft.com/office/drawing/2014/main" id="{78388022-A6FD-EAA1-9204-10434BEFB374}"/>
              </a:ext>
            </a:extLst>
          </p:cNvPr>
          <p:cNvGraphicFramePr/>
          <p:nvPr/>
        </p:nvGraphicFramePr>
        <p:xfrm>
          <a:off x="7021386" y="729024"/>
          <a:ext cx="2202092" cy="12118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6" name="object 11">
            <a:extLst>
              <a:ext uri="{FF2B5EF4-FFF2-40B4-BE49-F238E27FC236}">
                <a16:creationId xmlns:a16="http://schemas.microsoft.com/office/drawing/2014/main" id="{9208AE70-E676-B0C3-C1F9-4F2C77E3BF83}"/>
              </a:ext>
            </a:extLst>
          </p:cNvPr>
          <p:cNvSpPr txBox="1"/>
          <p:nvPr/>
        </p:nvSpPr>
        <p:spPr>
          <a:xfrm>
            <a:off x="7813328" y="1441030"/>
            <a:ext cx="2772000" cy="148299"/>
          </a:xfrm>
          <a:prstGeom prst="rect">
            <a:avLst/>
          </a:prstGeom>
        </p:spPr>
        <p:txBody>
          <a:bodyPr vert="horz" wrap="square" lIns="0" tIns="11737" rIns="0" bIns="0" rtlCol="0" anchor="t">
            <a:spAutoFit/>
          </a:bodyPr>
          <a:lstStyle/>
          <a:p>
            <a:pPr marL="186481">
              <a:lnSpc>
                <a:spcPct val="134523"/>
              </a:lnSpc>
              <a:spcBef>
                <a:spcPts val="92"/>
              </a:spcBef>
              <a:tabLst>
                <a:tab pos="1042593" algn="l"/>
                <a:tab pos="1898706" algn="l"/>
                <a:tab pos="2688311" algn="l"/>
              </a:tabLst>
            </a:pPr>
            <a:r>
              <a:rPr lang="en-AU" sz="719" b="1" spc="-26">
                <a:solidFill>
                  <a:srgbClr val="FFFFFF"/>
                </a:solidFill>
                <a:latin typeface="AP Type Pro Text"/>
                <a:cs typeface="AP Type Pro Text"/>
              </a:rPr>
              <a:t>Gen</a:t>
            </a:r>
            <a:r>
              <a:rPr lang="en-AU" sz="719" b="1" spc="-15">
                <a:solidFill>
                  <a:srgbClr val="FFFFFF"/>
                </a:solidFill>
                <a:latin typeface="AP Type Pro Text"/>
                <a:cs typeface="AP Type Pro Text"/>
              </a:rPr>
              <a:t> </a:t>
            </a:r>
            <a:r>
              <a:rPr lang="en-AU" sz="719" b="1" spc="-51">
                <a:solidFill>
                  <a:srgbClr val="FFFFFF"/>
                </a:solidFill>
                <a:latin typeface="AP Type Pro Text"/>
                <a:cs typeface="AP Type Pro Text"/>
              </a:rPr>
              <a:t>Z</a:t>
            </a:r>
            <a:r>
              <a:rPr lang="en-AU" sz="719" b="1">
                <a:solidFill>
                  <a:srgbClr val="FFFFFF"/>
                </a:solidFill>
                <a:latin typeface="AP Type Pro Text"/>
                <a:cs typeface="AP Type Pro Text"/>
              </a:rPr>
              <a:t>	</a:t>
            </a:r>
            <a:r>
              <a:rPr lang="en-AU" sz="719" b="1" spc="-26">
                <a:solidFill>
                  <a:srgbClr val="FFFFFF"/>
                </a:solidFill>
                <a:latin typeface="AP Type Pro Text"/>
                <a:cs typeface="AP Type Pro Text"/>
              </a:rPr>
              <a:t>Gen</a:t>
            </a:r>
            <a:r>
              <a:rPr lang="en-AU" sz="719" b="1" spc="-41">
                <a:solidFill>
                  <a:srgbClr val="FFFFFF"/>
                </a:solidFill>
                <a:latin typeface="AP Type Pro Text"/>
                <a:cs typeface="AP Type Pro Text"/>
              </a:rPr>
              <a:t> </a:t>
            </a:r>
            <a:r>
              <a:rPr lang="en-AU" sz="719" b="1" spc="-51">
                <a:solidFill>
                  <a:srgbClr val="FFFFFF"/>
                </a:solidFill>
                <a:latin typeface="AP Type Pro Text"/>
                <a:cs typeface="AP Type Pro Text"/>
              </a:rPr>
              <a:t>Y</a:t>
            </a:r>
            <a:r>
              <a:rPr lang="en-AU" sz="719" b="1">
                <a:solidFill>
                  <a:srgbClr val="FFFFFF"/>
                </a:solidFill>
                <a:latin typeface="AP Type Pro Text"/>
                <a:cs typeface="AP Type Pro Text"/>
              </a:rPr>
              <a:t>	</a:t>
            </a:r>
            <a:r>
              <a:rPr lang="en-AU" sz="719" b="1" spc="-26">
                <a:solidFill>
                  <a:srgbClr val="FFFFFF"/>
                </a:solidFill>
                <a:latin typeface="AP Type Pro Text"/>
                <a:cs typeface="AP Type Pro Text"/>
              </a:rPr>
              <a:t>Gen</a:t>
            </a:r>
            <a:r>
              <a:rPr lang="en-AU" sz="719" b="1" spc="-31">
                <a:solidFill>
                  <a:srgbClr val="FFFFFF"/>
                </a:solidFill>
                <a:latin typeface="AP Type Pro Text"/>
                <a:cs typeface="AP Type Pro Text"/>
              </a:rPr>
              <a:t> </a:t>
            </a:r>
            <a:r>
              <a:rPr lang="en-AU" sz="719" b="1" spc="-51">
                <a:solidFill>
                  <a:srgbClr val="FFFFFF"/>
                </a:solidFill>
                <a:latin typeface="AP Type Pro Text"/>
                <a:cs typeface="AP Type Pro Text"/>
              </a:rPr>
              <a:t>X</a:t>
            </a:r>
            <a:r>
              <a:rPr lang="en-AU" sz="719" b="1">
                <a:solidFill>
                  <a:srgbClr val="FFFFFF"/>
                </a:solidFill>
                <a:latin typeface="AP Type Pro Text"/>
                <a:cs typeface="AP Type Pro Text"/>
              </a:rPr>
              <a:t>	</a:t>
            </a:r>
            <a:endParaRPr lang="en-AU" sz="719">
              <a:latin typeface="AP Type Pro Text"/>
              <a:cs typeface="AP Type Pro Text"/>
            </a:endParaRPr>
          </a:p>
        </p:txBody>
      </p:sp>
      <p:sp>
        <p:nvSpPr>
          <p:cNvPr id="7" name="object 11">
            <a:extLst>
              <a:ext uri="{FF2B5EF4-FFF2-40B4-BE49-F238E27FC236}">
                <a16:creationId xmlns:a16="http://schemas.microsoft.com/office/drawing/2014/main" id="{BDF19306-89CF-BE1D-6001-8D7CE137698A}"/>
              </a:ext>
            </a:extLst>
          </p:cNvPr>
          <p:cNvSpPr txBox="1"/>
          <p:nvPr/>
        </p:nvSpPr>
        <p:spPr>
          <a:xfrm>
            <a:off x="10510787" y="1371158"/>
            <a:ext cx="445460" cy="297699"/>
          </a:xfrm>
          <a:prstGeom prst="rect">
            <a:avLst/>
          </a:prstGeom>
          <a:noFill/>
        </p:spPr>
        <p:txBody>
          <a:bodyPr vert="horz" wrap="square" lIns="0" tIns="11737" rIns="0" bIns="0" rtlCol="0" anchor="t">
            <a:spAutoFit/>
          </a:bodyPr>
          <a:lstStyle/>
          <a:p>
            <a:pPr algn="ctr">
              <a:lnSpc>
                <a:spcPct val="134523"/>
              </a:lnSpc>
              <a:tabLst>
                <a:tab pos="1042593" algn="l"/>
                <a:tab pos="1898706" algn="l"/>
                <a:tab pos="2688311" algn="l"/>
              </a:tabLst>
            </a:pPr>
            <a:r>
              <a:rPr lang="en-AU" sz="719" b="1">
                <a:solidFill>
                  <a:srgbClr val="FFFFFF"/>
                </a:solidFill>
                <a:latin typeface="AP Type Pro Text"/>
                <a:cs typeface="AP Type Pro Text"/>
              </a:rPr>
              <a:t>Baby </a:t>
            </a:r>
            <a:r>
              <a:rPr lang="en-AU" sz="719" b="1" spc="-10">
                <a:solidFill>
                  <a:srgbClr val="FFFFFF"/>
                </a:solidFill>
                <a:latin typeface="AP Type Pro Text"/>
                <a:cs typeface="AP Type Pro Text"/>
              </a:rPr>
              <a:t>Boomers</a:t>
            </a:r>
            <a:endParaRPr lang="en-AU" sz="719">
              <a:latin typeface="AP Type Pro Text"/>
              <a:cs typeface="AP Type Pro Text"/>
            </a:endParaRPr>
          </a:p>
        </p:txBody>
      </p:sp>
    </p:spTree>
    <p:extLst>
      <p:ext uri="{BB962C8B-B14F-4D97-AF65-F5344CB8AC3E}">
        <p14:creationId xmlns:p14="http://schemas.microsoft.com/office/powerpoint/2010/main" val="7913174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3" name="object 35">
            <a:extLst>
              <a:ext uri="{FF2B5EF4-FFF2-40B4-BE49-F238E27FC236}">
                <a16:creationId xmlns:a16="http://schemas.microsoft.com/office/drawing/2014/main" id="{05ED45FA-9518-7EB1-B2EE-43CAE93D3DBB}"/>
              </a:ext>
            </a:extLst>
          </p:cNvPr>
          <p:cNvGrpSpPr/>
          <p:nvPr/>
        </p:nvGrpSpPr>
        <p:grpSpPr>
          <a:xfrm>
            <a:off x="2596847" y="1786652"/>
            <a:ext cx="507957" cy="1185065"/>
            <a:chOff x="975297" y="3503700"/>
            <a:chExt cx="494665" cy="1154054"/>
          </a:xfrm>
        </p:grpSpPr>
        <p:pic>
          <p:nvPicPr>
            <p:cNvPr id="124" name="object 36">
              <a:extLst>
                <a:ext uri="{FF2B5EF4-FFF2-40B4-BE49-F238E27FC236}">
                  <a16:creationId xmlns:a16="http://schemas.microsoft.com/office/drawing/2014/main" id="{7AB428EA-18A1-5BB3-2302-EC4D4186A7A4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067892" y="3503700"/>
              <a:ext cx="321653" cy="502989"/>
            </a:xfrm>
            <a:prstGeom prst="rect">
              <a:avLst/>
            </a:prstGeom>
          </p:spPr>
        </p:pic>
        <p:sp>
          <p:nvSpPr>
            <p:cNvPr id="125" name="object 37">
              <a:extLst>
                <a:ext uri="{FF2B5EF4-FFF2-40B4-BE49-F238E27FC236}">
                  <a16:creationId xmlns:a16="http://schemas.microsoft.com/office/drawing/2014/main" id="{B232E6C1-2A94-FF76-4438-B21E88ECEF5D}"/>
                </a:ext>
              </a:extLst>
            </p:cNvPr>
            <p:cNvSpPr/>
            <p:nvPr/>
          </p:nvSpPr>
          <p:spPr>
            <a:xfrm>
              <a:off x="975297" y="3691285"/>
              <a:ext cx="494665" cy="966469"/>
            </a:xfrm>
            <a:custGeom>
              <a:avLst/>
              <a:gdLst/>
              <a:ahLst/>
              <a:cxnLst/>
              <a:rect l="l" t="t" r="r" b="b"/>
              <a:pathLst>
                <a:path w="494665" h="966470">
                  <a:moveTo>
                    <a:pt x="407898" y="159118"/>
                  </a:moveTo>
                  <a:lnTo>
                    <a:pt x="399372" y="195832"/>
                  </a:lnTo>
                  <a:lnTo>
                    <a:pt x="376269" y="220448"/>
                  </a:lnTo>
                  <a:lnTo>
                    <a:pt x="352327" y="234265"/>
                  </a:lnTo>
                  <a:lnTo>
                    <a:pt x="341287" y="238582"/>
                  </a:lnTo>
                  <a:lnTo>
                    <a:pt x="345256" y="254934"/>
                  </a:lnTo>
                  <a:lnTo>
                    <a:pt x="351607" y="268104"/>
                  </a:lnTo>
                  <a:lnTo>
                    <a:pt x="360409" y="278724"/>
                  </a:lnTo>
                  <a:lnTo>
                    <a:pt x="371729" y="287426"/>
                  </a:lnTo>
                  <a:lnTo>
                    <a:pt x="405091" y="280885"/>
                  </a:lnTo>
                  <a:lnTo>
                    <a:pt x="371729" y="287426"/>
                  </a:lnTo>
                  <a:lnTo>
                    <a:pt x="373456" y="288518"/>
                  </a:lnTo>
                  <a:lnTo>
                    <a:pt x="375234" y="289585"/>
                  </a:lnTo>
                  <a:lnTo>
                    <a:pt x="377113" y="290614"/>
                  </a:lnTo>
                  <a:lnTo>
                    <a:pt x="378955" y="309054"/>
                  </a:lnTo>
                  <a:lnTo>
                    <a:pt x="283629" y="309054"/>
                  </a:lnTo>
                  <a:lnTo>
                    <a:pt x="167982" y="309054"/>
                  </a:lnTo>
                  <a:lnTo>
                    <a:pt x="169824" y="291782"/>
                  </a:lnTo>
                  <a:lnTo>
                    <a:pt x="87617" y="279768"/>
                  </a:lnTo>
                  <a:lnTo>
                    <a:pt x="169824" y="291782"/>
                  </a:lnTo>
                  <a:lnTo>
                    <a:pt x="186735" y="285264"/>
                  </a:lnTo>
                  <a:lnTo>
                    <a:pt x="199890" y="273781"/>
                  </a:lnTo>
                  <a:lnTo>
                    <a:pt x="209041" y="256787"/>
                  </a:lnTo>
                  <a:lnTo>
                    <a:pt x="213944" y="233730"/>
                  </a:lnTo>
                  <a:lnTo>
                    <a:pt x="201763" y="233180"/>
                  </a:lnTo>
                  <a:lnTo>
                    <a:pt x="173647" y="229493"/>
                  </a:lnTo>
                  <a:lnTo>
                    <a:pt x="140122" y="219597"/>
                  </a:lnTo>
                  <a:lnTo>
                    <a:pt x="111712" y="200418"/>
                  </a:lnTo>
                  <a:lnTo>
                    <a:pt x="98945" y="168883"/>
                  </a:lnTo>
                  <a:lnTo>
                    <a:pt x="112344" y="121920"/>
                  </a:lnTo>
                </a:path>
                <a:path w="494665" h="966470">
                  <a:moveTo>
                    <a:pt x="256857" y="55156"/>
                  </a:moveTo>
                  <a:lnTo>
                    <a:pt x="254714" y="68818"/>
                  </a:lnTo>
                  <a:lnTo>
                    <a:pt x="255117" y="82894"/>
                  </a:lnTo>
                  <a:lnTo>
                    <a:pt x="255082" y="96820"/>
                  </a:lnTo>
                  <a:lnTo>
                    <a:pt x="251625" y="110032"/>
                  </a:lnTo>
                  <a:lnTo>
                    <a:pt x="249212" y="115011"/>
                  </a:lnTo>
                  <a:lnTo>
                    <a:pt x="245351" y="119354"/>
                  </a:lnTo>
                  <a:lnTo>
                    <a:pt x="240601" y="122580"/>
                  </a:lnTo>
                  <a:lnTo>
                    <a:pt x="241198" y="123507"/>
                  </a:lnTo>
                  <a:lnTo>
                    <a:pt x="241566" y="124561"/>
                  </a:lnTo>
                  <a:lnTo>
                    <a:pt x="241566" y="125717"/>
                  </a:lnTo>
                  <a:lnTo>
                    <a:pt x="241566" y="129070"/>
                  </a:lnTo>
                  <a:lnTo>
                    <a:pt x="238607" y="131800"/>
                  </a:lnTo>
                  <a:lnTo>
                    <a:pt x="234962" y="131800"/>
                  </a:lnTo>
                  <a:lnTo>
                    <a:pt x="231317" y="131800"/>
                  </a:lnTo>
                  <a:lnTo>
                    <a:pt x="228371" y="129070"/>
                  </a:lnTo>
                  <a:lnTo>
                    <a:pt x="228371" y="125717"/>
                  </a:lnTo>
                  <a:lnTo>
                    <a:pt x="228371" y="122351"/>
                  </a:lnTo>
                  <a:lnTo>
                    <a:pt x="231317" y="119634"/>
                  </a:lnTo>
                  <a:lnTo>
                    <a:pt x="234962" y="119634"/>
                  </a:lnTo>
                  <a:lnTo>
                    <a:pt x="235597" y="119634"/>
                  </a:lnTo>
                  <a:lnTo>
                    <a:pt x="236194" y="119735"/>
                  </a:lnTo>
                  <a:lnTo>
                    <a:pt x="236778" y="119888"/>
                  </a:lnTo>
                </a:path>
                <a:path w="494665" h="966470">
                  <a:moveTo>
                    <a:pt x="285750" y="55156"/>
                  </a:moveTo>
                  <a:lnTo>
                    <a:pt x="273469" y="64465"/>
                  </a:lnTo>
                  <a:lnTo>
                    <a:pt x="228624" y="37314"/>
                  </a:lnTo>
                  <a:lnTo>
                    <a:pt x="203271" y="22093"/>
                  </a:lnTo>
                  <a:lnTo>
                    <a:pt x="188045" y="13246"/>
                  </a:lnTo>
                  <a:lnTo>
                    <a:pt x="173583" y="5219"/>
                  </a:lnTo>
                  <a:lnTo>
                    <a:pt x="117995" y="21056"/>
                  </a:lnTo>
                  <a:lnTo>
                    <a:pt x="80958" y="52094"/>
                  </a:lnTo>
                  <a:lnTo>
                    <a:pt x="41194" y="94283"/>
                  </a:lnTo>
                  <a:lnTo>
                    <a:pt x="10328" y="142412"/>
                  </a:lnTo>
                  <a:lnTo>
                    <a:pt x="0" y="191274"/>
                  </a:lnTo>
                  <a:lnTo>
                    <a:pt x="10279" y="225002"/>
                  </a:lnTo>
                  <a:lnTo>
                    <a:pt x="31626" y="250204"/>
                  </a:lnTo>
                  <a:lnTo>
                    <a:pt x="59064" y="268064"/>
                  </a:lnTo>
                  <a:lnTo>
                    <a:pt x="87617" y="279768"/>
                  </a:lnTo>
                  <a:lnTo>
                    <a:pt x="84759" y="293878"/>
                  </a:lnTo>
                  <a:lnTo>
                    <a:pt x="85698" y="309726"/>
                  </a:lnTo>
                  <a:lnTo>
                    <a:pt x="94059" y="323159"/>
                  </a:lnTo>
                  <a:lnTo>
                    <a:pt x="108159" y="332470"/>
                  </a:lnTo>
                  <a:lnTo>
                    <a:pt x="126314" y="335953"/>
                  </a:lnTo>
                  <a:lnTo>
                    <a:pt x="131533" y="335953"/>
                  </a:lnTo>
                  <a:lnTo>
                    <a:pt x="360438" y="335953"/>
                  </a:lnTo>
                  <a:lnTo>
                    <a:pt x="365721" y="335953"/>
                  </a:lnTo>
                  <a:lnTo>
                    <a:pt x="383590" y="332582"/>
                  </a:lnTo>
                  <a:lnTo>
                    <a:pt x="397589" y="323542"/>
                  </a:lnTo>
                  <a:lnTo>
                    <a:pt x="406087" y="310439"/>
                  </a:lnTo>
                  <a:lnTo>
                    <a:pt x="407454" y="294881"/>
                  </a:lnTo>
                  <a:lnTo>
                    <a:pt x="405091" y="280885"/>
                  </a:lnTo>
                  <a:lnTo>
                    <a:pt x="435157" y="269858"/>
                  </a:lnTo>
                  <a:lnTo>
                    <a:pt x="464291" y="253482"/>
                  </a:lnTo>
                  <a:lnTo>
                    <a:pt x="486078" y="231043"/>
                  </a:lnTo>
                  <a:lnTo>
                    <a:pt x="494106" y="201828"/>
                  </a:lnTo>
                  <a:lnTo>
                    <a:pt x="479686" y="152281"/>
                  </a:lnTo>
                  <a:lnTo>
                    <a:pt x="446747" y="107102"/>
                  </a:lnTo>
                  <a:lnTo>
                    <a:pt x="406170" y="69147"/>
                  </a:lnTo>
                  <a:lnTo>
                    <a:pt x="368833" y="41275"/>
                  </a:lnTo>
                  <a:lnTo>
                    <a:pt x="333006" y="19316"/>
                  </a:lnTo>
                  <a:lnTo>
                    <a:pt x="285750" y="55156"/>
                  </a:lnTo>
                  <a:lnTo>
                    <a:pt x="290449" y="57658"/>
                  </a:lnTo>
                  <a:lnTo>
                    <a:pt x="293573" y="62166"/>
                  </a:lnTo>
                  <a:lnTo>
                    <a:pt x="295148" y="66954"/>
                  </a:lnTo>
                  <a:lnTo>
                    <a:pt x="296710" y="71742"/>
                  </a:lnTo>
                  <a:lnTo>
                    <a:pt x="296875" y="76809"/>
                  </a:lnTo>
                  <a:lnTo>
                    <a:pt x="296786" y="81800"/>
                  </a:lnTo>
                </a:path>
                <a:path w="494665" h="966470">
                  <a:moveTo>
                    <a:pt x="302056" y="128003"/>
                  </a:moveTo>
                  <a:lnTo>
                    <a:pt x="302831" y="127711"/>
                  </a:lnTo>
                  <a:lnTo>
                    <a:pt x="303682" y="127546"/>
                  </a:lnTo>
                  <a:lnTo>
                    <a:pt x="304571" y="127546"/>
                  </a:lnTo>
                  <a:lnTo>
                    <a:pt x="308216" y="127546"/>
                  </a:lnTo>
                  <a:lnTo>
                    <a:pt x="311162" y="130276"/>
                  </a:lnTo>
                  <a:lnTo>
                    <a:pt x="311162" y="133629"/>
                  </a:lnTo>
                  <a:lnTo>
                    <a:pt x="311162" y="136982"/>
                  </a:lnTo>
                  <a:lnTo>
                    <a:pt x="308216" y="139712"/>
                  </a:lnTo>
                  <a:lnTo>
                    <a:pt x="304571" y="139712"/>
                  </a:lnTo>
                  <a:lnTo>
                    <a:pt x="300926" y="139712"/>
                  </a:lnTo>
                  <a:lnTo>
                    <a:pt x="297967" y="136982"/>
                  </a:lnTo>
                  <a:lnTo>
                    <a:pt x="297967" y="133629"/>
                  </a:lnTo>
                  <a:lnTo>
                    <a:pt x="297967" y="131457"/>
                  </a:lnTo>
                  <a:lnTo>
                    <a:pt x="299212" y="129565"/>
                  </a:lnTo>
                  <a:lnTo>
                    <a:pt x="301066" y="128498"/>
                  </a:lnTo>
                  <a:lnTo>
                    <a:pt x="298533" y="122102"/>
                  </a:lnTo>
                  <a:lnTo>
                    <a:pt x="297014" y="115422"/>
                  </a:lnTo>
                  <a:lnTo>
                    <a:pt x="296287" y="108530"/>
                  </a:lnTo>
                  <a:lnTo>
                    <a:pt x="296125" y="101498"/>
                  </a:lnTo>
                </a:path>
                <a:path w="494665" h="966470">
                  <a:moveTo>
                    <a:pt x="49187" y="856945"/>
                  </a:moveTo>
                  <a:lnTo>
                    <a:pt x="48056" y="864120"/>
                  </a:lnTo>
                  <a:lnTo>
                    <a:pt x="51346" y="870839"/>
                  </a:lnTo>
                  <a:lnTo>
                    <a:pt x="57035" y="874915"/>
                  </a:lnTo>
                  <a:lnTo>
                    <a:pt x="51155" y="908900"/>
                  </a:lnTo>
                  <a:lnTo>
                    <a:pt x="57569" y="908900"/>
                  </a:lnTo>
                  <a:lnTo>
                    <a:pt x="113131" y="908900"/>
                  </a:lnTo>
                  <a:lnTo>
                    <a:pt x="119443" y="908900"/>
                  </a:lnTo>
                  <a:lnTo>
                    <a:pt x="123710" y="878128"/>
                  </a:lnTo>
                  <a:lnTo>
                    <a:pt x="130835" y="876122"/>
                  </a:lnTo>
                  <a:lnTo>
                    <a:pt x="136436" y="870686"/>
                  </a:lnTo>
                  <a:lnTo>
                    <a:pt x="138036" y="863676"/>
                  </a:lnTo>
                  <a:lnTo>
                    <a:pt x="242023" y="406692"/>
                  </a:lnTo>
                  <a:lnTo>
                    <a:pt x="261797" y="858951"/>
                  </a:lnTo>
                  <a:lnTo>
                    <a:pt x="261975" y="866648"/>
                  </a:lnTo>
                  <a:lnTo>
                    <a:pt x="267195" y="873175"/>
                  </a:lnTo>
                  <a:lnTo>
                    <a:pt x="274485" y="875880"/>
                  </a:lnTo>
                  <a:lnTo>
                    <a:pt x="273354" y="908900"/>
                  </a:lnTo>
                  <a:lnTo>
                    <a:pt x="280200" y="908900"/>
                  </a:lnTo>
                  <a:lnTo>
                    <a:pt x="332282" y="908900"/>
                  </a:lnTo>
                  <a:lnTo>
                    <a:pt x="338480" y="908900"/>
                  </a:lnTo>
                  <a:lnTo>
                    <a:pt x="339623" y="875982"/>
                  </a:lnTo>
                  <a:lnTo>
                    <a:pt x="348411" y="873988"/>
                  </a:lnTo>
                  <a:lnTo>
                    <a:pt x="354939" y="866724"/>
                  </a:lnTo>
                  <a:lnTo>
                    <a:pt x="355041" y="858024"/>
                  </a:lnTo>
                  <a:lnTo>
                    <a:pt x="360438" y="335953"/>
                  </a:lnTo>
                  <a:lnTo>
                    <a:pt x="131533" y="335953"/>
                  </a:lnTo>
                  <a:lnTo>
                    <a:pt x="49187" y="856945"/>
                  </a:lnTo>
                  <a:close/>
                </a:path>
                <a:path w="494665" h="966470">
                  <a:moveTo>
                    <a:pt x="55308" y="922261"/>
                  </a:moveTo>
                  <a:lnTo>
                    <a:pt x="112953" y="924471"/>
                  </a:lnTo>
                  <a:lnTo>
                    <a:pt x="113131" y="908900"/>
                  </a:lnTo>
                  <a:lnTo>
                    <a:pt x="57569" y="908900"/>
                  </a:lnTo>
                  <a:lnTo>
                    <a:pt x="55308" y="922261"/>
                  </a:lnTo>
                  <a:close/>
                </a:path>
                <a:path w="494665" h="966470">
                  <a:moveTo>
                    <a:pt x="279184" y="920889"/>
                  </a:moveTo>
                  <a:lnTo>
                    <a:pt x="332105" y="923086"/>
                  </a:lnTo>
                  <a:lnTo>
                    <a:pt x="332282" y="908900"/>
                  </a:lnTo>
                  <a:lnTo>
                    <a:pt x="280200" y="908900"/>
                  </a:lnTo>
                  <a:lnTo>
                    <a:pt x="279184" y="920889"/>
                  </a:lnTo>
                  <a:close/>
                </a:path>
                <a:path w="494665" h="966470">
                  <a:moveTo>
                    <a:pt x="46761" y="965987"/>
                  </a:moveTo>
                  <a:lnTo>
                    <a:pt x="163842" y="965987"/>
                  </a:lnTo>
                  <a:lnTo>
                    <a:pt x="149681" y="943828"/>
                  </a:lnTo>
                  <a:lnTo>
                    <a:pt x="132878" y="931298"/>
                  </a:lnTo>
                  <a:lnTo>
                    <a:pt x="118835" y="925734"/>
                  </a:lnTo>
                  <a:lnTo>
                    <a:pt x="112953" y="924471"/>
                  </a:lnTo>
                  <a:lnTo>
                    <a:pt x="55308" y="922274"/>
                  </a:lnTo>
                  <a:lnTo>
                    <a:pt x="46761" y="965987"/>
                  </a:lnTo>
                  <a:close/>
                </a:path>
                <a:path w="494665" h="966470">
                  <a:moveTo>
                    <a:pt x="275996" y="965987"/>
                  </a:moveTo>
                  <a:lnTo>
                    <a:pt x="415112" y="965987"/>
                  </a:lnTo>
                  <a:lnTo>
                    <a:pt x="396800" y="937151"/>
                  </a:lnTo>
                  <a:lnTo>
                    <a:pt x="368860" y="924863"/>
                  </a:lnTo>
                  <a:lnTo>
                    <a:pt x="343294" y="922412"/>
                  </a:lnTo>
                  <a:lnTo>
                    <a:pt x="332105" y="923086"/>
                  </a:lnTo>
                  <a:lnTo>
                    <a:pt x="279184" y="920889"/>
                  </a:lnTo>
                  <a:lnTo>
                    <a:pt x="275996" y="965987"/>
                  </a:lnTo>
                  <a:close/>
                </a:path>
                <a:path w="494665" h="966470">
                  <a:moveTo>
                    <a:pt x="226123" y="0"/>
                  </a:moveTo>
                  <a:lnTo>
                    <a:pt x="229235" y="2870"/>
                  </a:lnTo>
                  <a:lnTo>
                    <a:pt x="226123" y="0"/>
                  </a:lnTo>
                  <a:close/>
                </a:path>
              </a:pathLst>
            </a:custGeom>
            <a:ln w="12700">
              <a:solidFill>
                <a:srgbClr val="DC192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26" name="object 47">
            <a:extLst>
              <a:ext uri="{FF2B5EF4-FFF2-40B4-BE49-F238E27FC236}">
                <a16:creationId xmlns:a16="http://schemas.microsoft.com/office/drawing/2014/main" id="{E9847C67-7DF7-ECD1-A866-C7F3AD089F1C}"/>
              </a:ext>
            </a:extLst>
          </p:cNvPr>
          <p:cNvGrpSpPr/>
          <p:nvPr/>
        </p:nvGrpSpPr>
        <p:grpSpPr>
          <a:xfrm>
            <a:off x="9471800" y="1770254"/>
            <a:ext cx="427556" cy="1254130"/>
            <a:chOff x="8646903" y="3473042"/>
            <a:chExt cx="416407" cy="1221307"/>
          </a:xfrm>
        </p:grpSpPr>
        <p:sp>
          <p:nvSpPr>
            <p:cNvPr id="127" name="object 48">
              <a:extLst>
                <a:ext uri="{FF2B5EF4-FFF2-40B4-BE49-F238E27FC236}">
                  <a16:creationId xmlns:a16="http://schemas.microsoft.com/office/drawing/2014/main" id="{118DC1B4-9D40-2E7D-2CF9-223E964177BE}"/>
                </a:ext>
              </a:extLst>
            </p:cNvPr>
            <p:cNvSpPr/>
            <p:nvPr/>
          </p:nvSpPr>
          <p:spPr>
            <a:xfrm>
              <a:off x="8754573" y="3776724"/>
              <a:ext cx="1905" cy="38100"/>
            </a:xfrm>
            <a:custGeom>
              <a:avLst/>
              <a:gdLst/>
              <a:ahLst/>
              <a:cxnLst/>
              <a:rect l="l" t="t" r="r" b="b"/>
              <a:pathLst>
                <a:path w="1904" h="38100">
                  <a:moveTo>
                    <a:pt x="0" y="0"/>
                  </a:moveTo>
                  <a:lnTo>
                    <a:pt x="1308" y="38023"/>
                  </a:lnTo>
                </a:path>
              </a:pathLst>
            </a:custGeom>
            <a:ln w="12700">
              <a:solidFill>
                <a:srgbClr val="5C94B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28" name="object 49">
              <a:extLst>
                <a:ext uri="{FF2B5EF4-FFF2-40B4-BE49-F238E27FC236}">
                  <a16:creationId xmlns:a16="http://schemas.microsoft.com/office/drawing/2014/main" id="{00B6E87E-E42A-1A00-D59E-70551CA897BB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781154" y="3527677"/>
              <a:ext cx="145834" cy="293420"/>
            </a:xfrm>
            <a:prstGeom prst="rect">
              <a:avLst/>
            </a:prstGeom>
          </p:spPr>
        </p:pic>
        <p:sp>
          <p:nvSpPr>
            <p:cNvPr id="129" name="object 50">
              <a:extLst>
                <a:ext uri="{FF2B5EF4-FFF2-40B4-BE49-F238E27FC236}">
                  <a16:creationId xmlns:a16="http://schemas.microsoft.com/office/drawing/2014/main" id="{B0D4400C-A8AF-1FAC-9FE9-A2AE0187945E}"/>
                </a:ext>
              </a:extLst>
            </p:cNvPr>
            <p:cNvSpPr/>
            <p:nvPr/>
          </p:nvSpPr>
          <p:spPr>
            <a:xfrm>
              <a:off x="8700179" y="3812843"/>
              <a:ext cx="281940" cy="278130"/>
            </a:xfrm>
            <a:custGeom>
              <a:avLst/>
              <a:gdLst/>
              <a:ahLst/>
              <a:cxnLst/>
              <a:rect l="l" t="t" r="r" b="b"/>
              <a:pathLst>
                <a:path w="281940" h="278129">
                  <a:moveTo>
                    <a:pt x="151396" y="237172"/>
                  </a:moveTo>
                  <a:lnTo>
                    <a:pt x="141376" y="222338"/>
                  </a:lnTo>
                  <a:lnTo>
                    <a:pt x="140881" y="217258"/>
                  </a:lnTo>
                  <a:lnTo>
                    <a:pt x="140614" y="214477"/>
                  </a:lnTo>
                  <a:lnTo>
                    <a:pt x="140589" y="214223"/>
                  </a:lnTo>
                  <a:lnTo>
                    <a:pt x="140563" y="213982"/>
                  </a:lnTo>
                  <a:lnTo>
                    <a:pt x="140538" y="213753"/>
                  </a:lnTo>
                  <a:lnTo>
                    <a:pt x="143446" y="213461"/>
                  </a:lnTo>
                  <a:lnTo>
                    <a:pt x="145897" y="215036"/>
                  </a:lnTo>
                  <a:lnTo>
                    <a:pt x="148501" y="216700"/>
                  </a:lnTo>
                  <a:lnTo>
                    <a:pt x="150393" y="217919"/>
                  </a:lnTo>
                  <a:lnTo>
                    <a:pt x="152361" y="219176"/>
                  </a:lnTo>
                  <a:lnTo>
                    <a:pt x="154647" y="219811"/>
                  </a:lnTo>
                  <a:lnTo>
                    <a:pt x="160411" y="220363"/>
                  </a:lnTo>
                  <a:lnTo>
                    <a:pt x="165288" y="219205"/>
                  </a:lnTo>
                  <a:lnTo>
                    <a:pt x="166315" y="216489"/>
                  </a:lnTo>
                  <a:lnTo>
                    <a:pt x="160528" y="212369"/>
                  </a:lnTo>
                  <a:lnTo>
                    <a:pt x="152984" y="208826"/>
                  </a:lnTo>
                  <a:lnTo>
                    <a:pt x="149364" y="205816"/>
                  </a:lnTo>
                  <a:lnTo>
                    <a:pt x="146011" y="203022"/>
                  </a:lnTo>
                  <a:lnTo>
                    <a:pt x="144043" y="201383"/>
                  </a:lnTo>
                  <a:lnTo>
                    <a:pt x="142163" y="199821"/>
                  </a:lnTo>
                  <a:lnTo>
                    <a:pt x="139623" y="198272"/>
                  </a:lnTo>
                  <a:lnTo>
                    <a:pt x="132778" y="194068"/>
                  </a:lnTo>
                  <a:lnTo>
                    <a:pt x="128079" y="192303"/>
                  </a:lnTo>
                  <a:lnTo>
                    <a:pt x="116763" y="185369"/>
                  </a:lnTo>
                  <a:lnTo>
                    <a:pt x="103870" y="165322"/>
                  </a:lnTo>
                  <a:lnTo>
                    <a:pt x="91490" y="140714"/>
                  </a:lnTo>
                  <a:lnTo>
                    <a:pt x="79616" y="111636"/>
                  </a:lnTo>
                  <a:lnTo>
                    <a:pt x="68237" y="78181"/>
                  </a:lnTo>
                  <a:lnTo>
                    <a:pt x="57048" y="0"/>
                  </a:lnTo>
                  <a:lnTo>
                    <a:pt x="0" y="14719"/>
                  </a:lnTo>
                  <a:lnTo>
                    <a:pt x="7095" y="54324"/>
                  </a:lnTo>
                  <a:lnTo>
                    <a:pt x="32383" y="120928"/>
                  </a:lnTo>
                  <a:lnTo>
                    <a:pt x="54202" y="159167"/>
                  </a:lnTo>
                  <a:lnTo>
                    <a:pt x="89306" y="203733"/>
                  </a:lnTo>
                  <a:lnTo>
                    <a:pt x="96913" y="215277"/>
                  </a:lnTo>
                  <a:lnTo>
                    <a:pt x="98552" y="219900"/>
                  </a:lnTo>
                  <a:lnTo>
                    <a:pt x="101854" y="229273"/>
                  </a:lnTo>
                  <a:lnTo>
                    <a:pt x="104051" y="232537"/>
                  </a:lnTo>
                  <a:lnTo>
                    <a:pt x="107454" y="237591"/>
                  </a:lnTo>
                  <a:lnTo>
                    <a:pt x="108305" y="238861"/>
                  </a:lnTo>
                  <a:lnTo>
                    <a:pt x="109232" y="240245"/>
                  </a:lnTo>
                  <a:lnTo>
                    <a:pt x="110274" y="241858"/>
                  </a:lnTo>
                  <a:lnTo>
                    <a:pt x="113680" y="246784"/>
                  </a:lnTo>
                  <a:lnTo>
                    <a:pt x="150264" y="268471"/>
                  </a:lnTo>
                  <a:lnTo>
                    <a:pt x="159218" y="268258"/>
                  </a:lnTo>
                  <a:lnTo>
                    <a:pt x="164896" y="266128"/>
                  </a:lnTo>
                  <a:lnTo>
                    <a:pt x="167259" y="257171"/>
                  </a:lnTo>
                  <a:lnTo>
                    <a:pt x="162613" y="248440"/>
                  </a:lnTo>
                  <a:lnTo>
                    <a:pt x="155734" y="241314"/>
                  </a:lnTo>
                  <a:lnTo>
                    <a:pt x="151396" y="237172"/>
                  </a:lnTo>
                  <a:close/>
                </a:path>
                <a:path w="281940" h="278129">
                  <a:moveTo>
                    <a:pt x="114338" y="247142"/>
                  </a:moveTo>
                  <a:lnTo>
                    <a:pt x="109999" y="251284"/>
                  </a:lnTo>
                  <a:lnTo>
                    <a:pt x="103120" y="258410"/>
                  </a:lnTo>
                  <a:lnTo>
                    <a:pt x="98475" y="267140"/>
                  </a:lnTo>
                  <a:lnTo>
                    <a:pt x="100838" y="276098"/>
                  </a:lnTo>
                  <a:lnTo>
                    <a:pt x="107272" y="277606"/>
                  </a:lnTo>
                  <a:lnTo>
                    <a:pt x="117889" y="276453"/>
                  </a:lnTo>
                  <a:lnTo>
                    <a:pt x="130261" y="272833"/>
                  </a:lnTo>
                  <a:lnTo>
                    <a:pt x="141960" y="266941"/>
                  </a:lnTo>
                </a:path>
                <a:path w="281940" h="278129">
                  <a:moveTo>
                    <a:pt x="160909" y="243547"/>
                  </a:moveTo>
                  <a:lnTo>
                    <a:pt x="164312" y="238493"/>
                  </a:lnTo>
                  <a:lnTo>
                    <a:pt x="163880" y="239242"/>
                  </a:lnTo>
                  <a:lnTo>
                    <a:pt x="167182" y="229870"/>
                  </a:lnTo>
                  <a:lnTo>
                    <a:pt x="168897" y="225031"/>
                  </a:lnTo>
                  <a:lnTo>
                    <a:pt x="170573" y="216992"/>
                  </a:lnTo>
                  <a:lnTo>
                    <a:pt x="170980" y="213309"/>
                  </a:lnTo>
                  <a:lnTo>
                    <a:pt x="183154" y="199587"/>
                  </a:lnTo>
                  <a:lnTo>
                    <a:pt x="210194" y="165380"/>
                  </a:lnTo>
                  <a:lnTo>
                    <a:pt x="241849" y="116441"/>
                  </a:lnTo>
                  <a:lnTo>
                    <a:pt x="267868" y="58521"/>
                  </a:lnTo>
                  <a:lnTo>
                    <a:pt x="281368" y="12661"/>
                  </a:lnTo>
                  <a:lnTo>
                    <a:pt x="220459" y="1905"/>
                  </a:lnTo>
                  <a:lnTo>
                    <a:pt x="210959" y="68249"/>
                  </a:lnTo>
                  <a:lnTo>
                    <a:pt x="148971" y="195338"/>
                  </a:lnTo>
                  <a:lnTo>
                    <a:pt x="144691" y="197967"/>
                  </a:lnTo>
                </a:path>
                <a:path w="281940" h="278129">
                  <a:moveTo>
                    <a:pt x="252044" y="126276"/>
                  </a:moveTo>
                  <a:lnTo>
                    <a:pt x="261473" y="115899"/>
                  </a:lnTo>
                  <a:lnTo>
                    <a:pt x="265331" y="107843"/>
                  </a:lnTo>
                  <a:lnTo>
                    <a:pt x="264260" y="97970"/>
                  </a:lnTo>
                  <a:lnTo>
                    <a:pt x="258902" y="82143"/>
                  </a:lnTo>
                </a:path>
              </a:pathLst>
            </a:custGeom>
            <a:ln w="12700">
              <a:solidFill>
                <a:srgbClr val="5C94B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30" name="object 51">
              <a:extLst>
                <a:ext uri="{FF2B5EF4-FFF2-40B4-BE49-F238E27FC236}">
                  <a16:creationId xmlns:a16="http://schemas.microsoft.com/office/drawing/2014/main" id="{00C3C8A0-1656-E161-D20F-4898124A9752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897817" y="3671644"/>
              <a:ext cx="102188" cy="161074"/>
            </a:xfrm>
            <a:prstGeom prst="rect">
              <a:avLst/>
            </a:prstGeom>
          </p:spPr>
        </p:pic>
        <p:pic>
          <p:nvPicPr>
            <p:cNvPr id="131" name="object 52">
              <a:extLst>
                <a:ext uri="{FF2B5EF4-FFF2-40B4-BE49-F238E27FC236}">
                  <a16:creationId xmlns:a16="http://schemas.microsoft.com/office/drawing/2014/main" id="{F849D6B2-7165-C6DB-E174-E3F9DEAF2616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8688800" y="3678464"/>
              <a:ext cx="114109" cy="156044"/>
            </a:xfrm>
            <a:prstGeom prst="rect">
              <a:avLst/>
            </a:prstGeom>
          </p:spPr>
        </p:pic>
        <p:sp>
          <p:nvSpPr>
            <p:cNvPr id="132" name="object 53">
              <a:extLst>
                <a:ext uri="{FF2B5EF4-FFF2-40B4-BE49-F238E27FC236}">
                  <a16:creationId xmlns:a16="http://schemas.microsoft.com/office/drawing/2014/main" id="{F71E80FC-1939-2D56-CCC5-FF3DC86BD535}"/>
                </a:ext>
              </a:extLst>
            </p:cNvPr>
            <p:cNvSpPr/>
            <p:nvPr/>
          </p:nvSpPr>
          <p:spPr>
            <a:xfrm>
              <a:off x="8729427" y="3939132"/>
              <a:ext cx="319405" cy="589280"/>
            </a:xfrm>
            <a:custGeom>
              <a:avLst/>
              <a:gdLst/>
              <a:ahLst/>
              <a:cxnLst/>
              <a:rect l="l" t="t" r="r" b="b"/>
              <a:pathLst>
                <a:path w="319404" h="589279">
                  <a:moveTo>
                    <a:pt x="16217" y="18948"/>
                  </a:moveTo>
                  <a:lnTo>
                    <a:pt x="13387" y="70424"/>
                  </a:lnTo>
                  <a:lnTo>
                    <a:pt x="11607" y="109473"/>
                  </a:lnTo>
                  <a:lnTo>
                    <a:pt x="9731" y="157529"/>
                  </a:lnTo>
                  <a:lnTo>
                    <a:pt x="7870" y="214694"/>
                  </a:lnTo>
                  <a:lnTo>
                    <a:pt x="6134" y="281069"/>
                  </a:lnTo>
                  <a:lnTo>
                    <a:pt x="4635" y="356755"/>
                  </a:lnTo>
                  <a:lnTo>
                    <a:pt x="2389" y="483871"/>
                  </a:lnTo>
                  <a:lnTo>
                    <a:pt x="965" y="553654"/>
                  </a:lnTo>
                  <a:lnTo>
                    <a:pt x="217" y="583078"/>
                  </a:lnTo>
                  <a:lnTo>
                    <a:pt x="0" y="589114"/>
                  </a:lnTo>
                  <a:lnTo>
                    <a:pt x="84404" y="589216"/>
                  </a:lnTo>
                  <a:lnTo>
                    <a:pt x="124383" y="326910"/>
                  </a:lnTo>
                  <a:lnTo>
                    <a:pt x="137223" y="214172"/>
                  </a:lnTo>
                  <a:lnTo>
                    <a:pt x="231965" y="589102"/>
                  </a:lnTo>
                  <a:lnTo>
                    <a:pt x="319354" y="589216"/>
                  </a:lnTo>
                  <a:lnTo>
                    <a:pt x="306519" y="458912"/>
                  </a:lnTo>
                  <a:lnTo>
                    <a:pt x="298591" y="374553"/>
                  </a:lnTo>
                  <a:lnTo>
                    <a:pt x="292284" y="299307"/>
                  </a:lnTo>
                  <a:lnTo>
                    <a:pt x="284314" y="196341"/>
                  </a:lnTo>
                  <a:lnTo>
                    <a:pt x="273614" y="119486"/>
                  </a:lnTo>
                  <a:lnTo>
                    <a:pt x="257513" y="64519"/>
                  </a:lnTo>
                  <a:lnTo>
                    <a:pt x="239432" y="26377"/>
                  </a:lnTo>
                  <a:lnTo>
                    <a:pt x="222796" y="0"/>
                  </a:lnTo>
                  <a:lnTo>
                    <a:pt x="206781" y="177"/>
                  </a:lnTo>
                </a:path>
                <a:path w="319404" h="589279">
                  <a:moveTo>
                    <a:pt x="153022" y="774"/>
                  </a:moveTo>
                  <a:lnTo>
                    <a:pt x="58521" y="1790"/>
                  </a:lnTo>
                </a:path>
              </a:pathLst>
            </a:custGeom>
            <a:ln w="12700">
              <a:solidFill>
                <a:srgbClr val="5C94B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33" name="object 54">
              <a:extLst>
                <a:ext uri="{FF2B5EF4-FFF2-40B4-BE49-F238E27FC236}">
                  <a16:creationId xmlns:a16="http://schemas.microsoft.com/office/drawing/2014/main" id="{D143355A-20DA-6393-2C84-0FD0A28DCF61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946496" y="4521909"/>
              <a:ext cx="116814" cy="172440"/>
            </a:xfrm>
            <a:prstGeom prst="rect">
              <a:avLst/>
            </a:prstGeom>
          </p:spPr>
        </p:pic>
        <p:pic>
          <p:nvPicPr>
            <p:cNvPr id="134" name="object 55">
              <a:extLst>
                <a:ext uri="{FF2B5EF4-FFF2-40B4-BE49-F238E27FC236}">
                  <a16:creationId xmlns:a16="http://schemas.microsoft.com/office/drawing/2014/main" id="{9F0BBB68-5C63-5559-5CA0-DDD6A7666159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8646903" y="4521909"/>
              <a:ext cx="160400" cy="172440"/>
            </a:xfrm>
            <a:prstGeom prst="rect">
              <a:avLst/>
            </a:prstGeom>
          </p:spPr>
        </p:pic>
        <p:pic>
          <p:nvPicPr>
            <p:cNvPr id="135" name="object 56">
              <a:extLst>
                <a:ext uri="{FF2B5EF4-FFF2-40B4-BE49-F238E27FC236}">
                  <a16:creationId xmlns:a16="http://schemas.microsoft.com/office/drawing/2014/main" id="{DD3CADAC-7B75-FCD1-24DB-2C6C6A8D308D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8733180" y="3473042"/>
              <a:ext cx="235375" cy="194271"/>
            </a:xfrm>
            <a:prstGeom prst="rect">
              <a:avLst/>
            </a:prstGeom>
          </p:spPr>
        </p:pic>
      </p:grpSp>
      <p:pic>
        <p:nvPicPr>
          <p:cNvPr id="136" name="Picture 135">
            <a:extLst>
              <a:ext uri="{FF2B5EF4-FFF2-40B4-BE49-F238E27FC236}">
                <a16:creationId xmlns:a16="http://schemas.microsoft.com/office/drawing/2014/main" id="{8A18122E-C052-6969-CCA3-2B85B8D43FB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863461" y="1786651"/>
            <a:ext cx="469486" cy="1199797"/>
          </a:xfrm>
          <a:prstGeom prst="rect">
            <a:avLst/>
          </a:prstGeom>
        </p:spPr>
      </p:pic>
      <p:pic>
        <p:nvPicPr>
          <p:cNvPr id="137" name="Picture 136">
            <a:extLst>
              <a:ext uri="{FF2B5EF4-FFF2-40B4-BE49-F238E27FC236}">
                <a16:creationId xmlns:a16="http://schemas.microsoft.com/office/drawing/2014/main" id="{8FBA7875-B518-DE92-D65F-23F01EBB069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166829" y="1773612"/>
            <a:ext cx="430362" cy="1265003"/>
          </a:xfrm>
          <a:prstGeom prst="rect">
            <a:avLst/>
          </a:prstGeom>
        </p:spPr>
      </p:pic>
      <p:sp>
        <p:nvSpPr>
          <p:cNvPr id="22" name="object 22"/>
          <p:cNvSpPr/>
          <p:nvPr/>
        </p:nvSpPr>
        <p:spPr>
          <a:xfrm>
            <a:off x="4741928" y="2276272"/>
            <a:ext cx="2057529" cy="4046708"/>
          </a:xfrm>
          <a:custGeom>
            <a:avLst/>
            <a:gdLst/>
            <a:ahLst/>
            <a:cxnLst/>
            <a:rect l="l" t="t" r="r" b="b"/>
            <a:pathLst>
              <a:path w="2315845" h="4149090">
                <a:moveTo>
                  <a:pt x="2279649" y="0"/>
                </a:moveTo>
                <a:lnTo>
                  <a:pt x="36004" y="0"/>
                </a:lnTo>
                <a:lnTo>
                  <a:pt x="21988" y="2828"/>
                </a:lnTo>
                <a:lnTo>
                  <a:pt x="10544" y="10542"/>
                </a:lnTo>
                <a:lnTo>
                  <a:pt x="2828" y="21983"/>
                </a:lnTo>
                <a:lnTo>
                  <a:pt x="0" y="35991"/>
                </a:lnTo>
                <a:lnTo>
                  <a:pt x="0" y="4112641"/>
                </a:lnTo>
                <a:lnTo>
                  <a:pt x="2828" y="4126651"/>
                </a:lnTo>
                <a:lnTo>
                  <a:pt x="10544" y="4138096"/>
                </a:lnTo>
                <a:lnTo>
                  <a:pt x="21988" y="4145814"/>
                </a:lnTo>
                <a:lnTo>
                  <a:pt x="36004" y="4148645"/>
                </a:lnTo>
                <a:lnTo>
                  <a:pt x="2279649" y="4148645"/>
                </a:lnTo>
                <a:lnTo>
                  <a:pt x="2293666" y="4145814"/>
                </a:lnTo>
                <a:lnTo>
                  <a:pt x="2305110" y="4138096"/>
                </a:lnTo>
                <a:lnTo>
                  <a:pt x="2312825" y="4126651"/>
                </a:lnTo>
                <a:lnTo>
                  <a:pt x="2315654" y="4112641"/>
                </a:lnTo>
                <a:lnTo>
                  <a:pt x="2315654" y="35991"/>
                </a:lnTo>
                <a:lnTo>
                  <a:pt x="2312825" y="21983"/>
                </a:lnTo>
                <a:lnTo>
                  <a:pt x="2305110" y="10542"/>
                </a:lnTo>
                <a:lnTo>
                  <a:pt x="2293666" y="2828"/>
                </a:lnTo>
                <a:lnTo>
                  <a:pt x="2279649" y="0"/>
                </a:lnTo>
                <a:close/>
              </a:path>
            </a:pathLst>
          </a:custGeom>
          <a:solidFill>
            <a:srgbClr val="E5F2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2" name="object 24">
            <a:extLst>
              <a:ext uri="{FF2B5EF4-FFF2-40B4-BE49-F238E27FC236}">
                <a16:creationId xmlns:a16="http://schemas.microsoft.com/office/drawing/2014/main" id="{BAB865ED-4B6C-4053-CAFC-15B28CE109E5}"/>
              </a:ext>
            </a:extLst>
          </p:cNvPr>
          <p:cNvSpPr/>
          <p:nvPr/>
        </p:nvSpPr>
        <p:spPr>
          <a:xfrm>
            <a:off x="4736620" y="2256137"/>
            <a:ext cx="1049294" cy="419434"/>
          </a:xfrm>
          <a:custGeom>
            <a:avLst/>
            <a:gdLst/>
            <a:ahLst/>
            <a:cxnLst/>
            <a:rect l="l" t="t" r="r" b="b"/>
            <a:pathLst>
              <a:path w="792479" h="384175">
                <a:moveTo>
                  <a:pt x="756005" y="0"/>
                </a:moveTo>
                <a:lnTo>
                  <a:pt x="36004" y="0"/>
                </a:lnTo>
                <a:lnTo>
                  <a:pt x="21988" y="2828"/>
                </a:lnTo>
                <a:lnTo>
                  <a:pt x="10544" y="10542"/>
                </a:lnTo>
                <a:lnTo>
                  <a:pt x="2828" y="21983"/>
                </a:lnTo>
                <a:lnTo>
                  <a:pt x="0" y="35991"/>
                </a:lnTo>
                <a:lnTo>
                  <a:pt x="0" y="347700"/>
                </a:lnTo>
                <a:lnTo>
                  <a:pt x="2828" y="361716"/>
                </a:lnTo>
                <a:lnTo>
                  <a:pt x="10544" y="373160"/>
                </a:lnTo>
                <a:lnTo>
                  <a:pt x="21988" y="380876"/>
                </a:lnTo>
                <a:lnTo>
                  <a:pt x="36004" y="383705"/>
                </a:lnTo>
                <a:lnTo>
                  <a:pt x="756005" y="383705"/>
                </a:lnTo>
                <a:lnTo>
                  <a:pt x="770016" y="380876"/>
                </a:lnTo>
                <a:lnTo>
                  <a:pt x="781461" y="373160"/>
                </a:lnTo>
                <a:lnTo>
                  <a:pt x="789179" y="361716"/>
                </a:lnTo>
                <a:lnTo>
                  <a:pt x="792010" y="347700"/>
                </a:lnTo>
                <a:lnTo>
                  <a:pt x="792010" y="35991"/>
                </a:lnTo>
                <a:lnTo>
                  <a:pt x="789179" y="21983"/>
                </a:lnTo>
                <a:lnTo>
                  <a:pt x="781461" y="10542"/>
                </a:lnTo>
                <a:lnTo>
                  <a:pt x="770016" y="2828"/>
                </a:lnTo>
                <a:lnTo>
                  <a:pt x="756005" y="0"/>
                </a:lnTo>
                <a:close/>
              </a:path>
            </a:pathLst>
          </a:custGeom>
          <a:solidFill>
            <a:srgbClr val="7FBEC1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86" name="object 6">
            <a:extLst>
              <a:ext uri="{FF2B5EF4-FFF2-40B4-BE49-F238E27FC236}">
                <a16:creationId xmlns:a16="http://schemas.microsoft.com/office/drawing/2014/main" id="{C44BDF6C-41AF-81BE-7112-19B1A96E5E30}"/>
              </a:ext>
            </a:extLst>
          </p:cNvPr>
          <p:cNvGrpSpPr/>
          <p:nvPr/>
        </p:nvGrpSpPr>
        <p:grpSpPr>
          <a:xfrm>
            <a:off x="7721081" y="930128"/>
            <a:ext cx="3383109" cy="815731"/>
            <a:chOff x="7526676" y="1618410"/>
            <a:chExt cx="3294580" cy="794385"/>
          </a:xfrm>
        </p:grpSpPr>
        <p:sp>
          <p:nvSpPr>
            <p:cNvPr id="88" name="object 7">
              <a:extLst>
                <a:ext uri="{FF2B5EF4-FFF2-40B4-BE49-F238E27FC236}">
                  <a16:creationId xmlns:a16="http://schemas.microsoft.com/office/drawing/2014/main" id="{477A43E5-CE45-DC6A-8EC9-F8C237E68AD6}"/>
                </a:ext>
              </a:extLst>
            </p:cNvPr>
            <p:cNvSpPr/>
            <p:nvPr/>
          </p:nvSpPr>
          <p:spPr>
            <a:xfrm>
              <a:off x="7526676" y="1618410"/>
              <a:ext cx="794385" cy="794385"/>
            </a:xfrm>
            <a:custGeom>
              <a:avLst/>
              <a:gdLst/>
              <a:ahLst/>
              <a:cxnLst/>
              <a:rect l="l" t="t" r="r" b="b"/>
              <a:pathLst>
                <a:path w="794384" h="794385">
                  <a:moveTo>
                    <a:pt x="397167" y="0"/>
                  </a:moveTo>
                  <a:lnTo>
                    <a:pt x="350848" y="2671"/>
                  </a:lnTo>
                  <a:lnTo>
                    <a:pt x="306098" y="10489"/>
                  </a:lnTo>
                  <a:lnTo>
                    <a:pt x="263216" y="23153"/>
                  </a:lnTo>
                  <a:lnTo>
                    <a:pt x="222500" y="40367"/>
                  </a:lnTo>
                  <a:lnTo>
                    <a:pt x="184248" y="61832"/>
                  </a:lnTo>
                  <a:lnTo>
                    <a:pt x="148757" y="87251"/>
                  </a:lnTo>
                  <a:lnTo>
                    <a:pt x="116325" y="116325"/>
                  </a:lnTo>
                  <a:lnTo>
                    <a:pt x="87251" y="148757"/>
                  </a:lnTo>
                  <a:lnTo>
                    <a:pt x="61832" y="184248"/>
                  </a:lnTo>
                  <a:lnTo>
                    <a:pt x="40367" y="222500"/>
                  </a:lnTo>
                  <a:lnTo>
                    <a:pt x="23153" y="263216"/>
                  </a:lnTo>
                  <a:lnTo>
                    <a:pt x="10489" y="306098"/>
                  </a:lnTo>
                  <a:lnTo>
                    <a:pt x="2671" y="350848"/>
                  </a:lnTo>
                  <a:lnTo>
                    <a:pt x="0" y="397167"/>
                  </a:lnTo>
                  <a:lnTo>
                    <a:pt x="2671" y="443486"/>
                  </a:lnTo>
                  <a:lnTo>
                    <a:pt x="10489" y="488235"/>
                  </a:lnTo>
                  <a:lnTo>
                    <a:pt x="23153" y="531117"/>
                  </a:lnTo>
                  <a:lnTo>
                    <a:pt x="40367" y="571833"/>
                  </a:lnTo>
                  <a:lnTo>
                    <a:pt x="61832" y="610085"/>
                  </a:lnTo>
                  <a:lnTo>
                    <a:pt x="87251" y="645576"/>
                  </a:lnTo>
                  <a:lnTo>
                    <a:pt x="116325" y="678008"/>
                  </a:lnTo>
                  <a:lnTo>
                    <a:pt x="148757" y="707082"/>
                  </a:lnTo>
                  <a:lnTo>
                    <a:pt x="184248" y="732501"/>
                  </a:lnTo>
                  <a:lnTo>
                    <a:pt x="222500" y="753966"/>
                  </a:lnTo>
                  <a:lnTo>
                    <a:pt x="263216" y="771180"/>
                  </a:lnTo>
                  <a:lnTo>
                    <a:pt x="306098" y="783844"/>
                  </a:lnTo>
                  <a:lnTo>
                    <a:pt x="350848" y="791662"/>
                  </a:lnTo>
                  <a:lnTo>
                    <a:pt x="397167" y="794334"/>
                  </a:lnTo>
                  <a:lnTo>
                    <a:pt x="443486" y="791662"/>
                  </a:lnTo>
                  <a:lnTo>
                    <a:pt x="488235" y="783844"/>
                  </a:lnTo>
                  <a:lnTo>
                    <a:pt x="531117" y="771180"/>
                  </a:lnTo>
                  <a:lnTo>
                    <a:pt x="571833" y="753966"/>
                  </a:lnTo>
                  <a:lnTo>
                    <a:pt x="610085" y="732501"/>
                  </a:lnTo>
                  <a:lnTo>
                    <a:pt x="645576" y="707082"/>
                  </a:lnTo>
                  <a:lnTo>
                    <a:pt x="678008" y="678008"/>
                  </a:lnTo>
                  <a:lnTo>
                    <a:pt x="707082" y="645576"/>
                  </a:lnTo>
                  <a:lnTo>
                    <a:pt x="732501" y="610085"/>
                  </a:lnTo>
                  <a:lnTo>
                    <a:pt x="753966" y="571833"/>
                  </a:lnTo>
                  <a:lnTo>
                    <a:pt x="771180" y="531117"/>
                  </a:lnTo>
                  <a:lnTo>
                    <a:pt x="783844" y="488235"/>
                  </a:lnTo>
                  <a:lnTo>
                    <a:pt x="791662" y="443486"/>
                  </a:lnTo>
                  <a:lnTo>
                    <a:pt x="794334" y="397167"/>
                  </a:lnTo>
                  <a:lnTo>
                    <a:pt x="791662" y="350848"/>
                  </a:lnTo>
                  <a:lnTo>
                    <a:pt x="783844" y="306098"/>
                  </a:lnTo>
                  <a:lnTo>
                    <a:pt x="771180" y="263216"/>
                  </a:lnTo>
                  <a:lnTo>
                    <a:pt x="753966" y="222500"/>
                  </a:lnTo>
                  <a:lnTo>
                    <a:pt x="732501" y="184248"/>
                  </a:lnTo>
                  <a:lnTo>
                    <a:pt x="707082" y="148757"/>
                  </a:lnTo>
                  <a:lnTo>
                    <a:pt x="678008" y="116325"/>
                  </a:lnTo>
                  <a:lnTo>
                    <a:pt x="645576" y="87251"/>
                  </a:lnTo>
                  <a:lnTo>
                    <a:pt x="610085" y="61832"/>
                  </a:lnTo>
                  <a:lnTo>
                    <a:pt x="571833" y="40367"/>
                  </a:lnTo>
                  <a:lnTo>
                    <a:pt x="531117" y="23153"/>
                  </a:lnTo>
                  <a:lnTo>
                    <a:pt x="488235" y="10489"/>
                  </a:lnTo>
                  <a:lnTo>
                    <a:pt x="443486" y="2671"/>
                  </a:lnTo>
                  <a:lnTo>
                    <a:pt x="397167" y="0"/>
                  </a:lnTo>
                  <a:close/>
                </a:path>
              </a:pathLst>
            </a:custGeom>
            <a:solidFill>
              <a:srgbClr val="DC192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9" name="object 8">
              <a:extLst>
                <a:ext uri="{FF2B5EF4-FFF2-40B4-BE49-F238E27FC236}">
                  <a16:creationId xmlns:a16="http://schemas.microsoft.com/office/drawing/2014/main" id="{93157CC5-7238-8E0F-8AEA-DBBA2C80C380}"/>
                </a:ext>
              </a:extLst>
            </p:cNvPr>
            <p:cNvSpPr/>
            <p:nvPr/>
          </p:nvSpPr>
          <p:spPr>
            <a:xfrm>
              <a:off x="9193473" y="1618410"/>
              <a:ext cx="794385" cy="794385"/>
            </a:xfrm>
            <a:custGeom>
              <a:avLst/>
              <a:gdLst/>
              <a:ahLst/>
              <a:cxnLst/>
              <a:rect l="l" t="t" r="r" b="b"/>
              <a:pathLst>
                <a:path w="794384" h="794385">
                  <a:moveTo>
                    <a:pt x="397167" y="0"/>
                  </a:moveTo>
                  <a:lnTo>
                    <a:pt x="350848" y="2671"/>
                  </a:lnTo>
                  <a:lnTo>
                    <a:pt x="306098" y="10489"/>
                  </a:lnTo>
                  <a:lnTo>
                    <a:pt x="263216" y="23153"/>
                  </a:lnTo>
                  <a:lnTo>
                    <a:pt x="222500" y="40367"/>
                  </a:lnTo>
                  <a:lnTo>
                    <a:pt x="184248" y="61832"/>
                  </a:lnTo>
                  <a:lnTo>
                    <a:pt x="148757" y="87251"/>
                  </a:lnTo>
                  <a:lnTo>
                    <a:pt x="116325" y="116325"/>
                  </a:lnTo>
                  <a:lnTo>
                    <a:pt x="87251" y="148757"/>
                  </a:lnTo>
                  <a:lnTo>
                    <a:pt x="61832" y="184248"/>
                  </a:lnTo>
                  <a:lnTo>
                    <a:pt x="40367" y="222500"/>
                  </a:lnTo>
                  <a:lnTo>
                    <a:pt x="23153" y="263216"/>
                  </a:lnTo>
                  <a:lnTo>
                    <a:pt x="10489" y="306098"/>
                  </a:lnTo>
                  <a:lnTo>
                    <a:pt x="2671" y="350848"/>
                  </a:lnTo>
                  <a:lnTo>
                    <a:pt x="0" y="397167"/>
                  </a:lnTo>
                  <a:lnTo>
                    <a:pt x="2671" y="443486"/>
                  </a:lnTo>
                  <a:lnTo>
                    <a:pt x="10489" y="488235"/>
                  </a:lnTo>
                  <a:lnTo>
                    <a:pt x="23153" y="531117"/>
                  </a:lnTo>
                  <a:lnTo>
                    <a:pt x="40367" y="571833"/>
                  </a:lnTo>
                  <a:lnTo>
                    <a:pt x="61832" y="610085"/>
                  </a:lnTo>
                  <a:lnTo>
                    <a:pt x="87251" y="645576"/>
                  </a:lnTo>
                  <a:lnTo>
                    <a:pt x="116325" y="678008"/>
                  </a:lnTo>
                  <a:lnTo>
                    <a:pt x="148757" y="707082"/>
                  </a:lnTo>
                  <a:lnTo>
                    <a:pt x="184248" y="732501"/>
                  </a:lnTo>
                  <a:lnTo>
                    <a:pt x="222500" y="753966"/>
                  </a:lnTo>
                  <a:lnTo>
                    <a:pt x="263216" y="771180"/>
                  </a:lnTo>
                  <a:lnTo>
                    <a:pt x="306098" y="783844"/>
                  </a:lnTo>
                  <a:lnTo>
                    <a:pt x="350848" y="791662"/>
                  </a:lnTo>
                  <a:lnTo>
                    <a:pt x="397167" y="794334"/>
                  </a:lnTo>
                  <a:lnTo>
                    <a:pt x="443486" y="791662"/>
                  </a:lnTo>
                  <a:lnTo>
                    <a:pt x="488235" y="783844"/>
                  </a:lnTo>
                  <a:lnTo>
                    <a:pt x="531117" y="771180"/>
                  </a:lnTo>
                  <a:lnTo>
                    <a:pt x="571833" y="753966"/>
                  </a:lnTo>
                  <a:lnTo>
                    <a:pt x="610085" y="732501"/>
                  </a:lnTo>
                  <a:lnTo>
                    <a:pt x="645576" y="707082"/>
                  </a:lnTo>
                  <a:lnTo>
                    <a:pt x="678008" y="678008"/>
                  </a:lnTo>
                  <a:lnTo>
                    <a:pt x="707082" y="645576"/>
                  </a:lnTo>
                  <a:lnTo>
                    <a:pt x="732501" y="610085"/>
                  </a:lnTo>
                  <a:lnTo>
                    <a:pt x="753966" y="571833"/>
                  </a:lnTo>
                  <a:lnTo>
                    <a:pt x="771180" y="531117"/>
                  </a:lnTo>
                  <a:lnTo>
                    <a:pt x="783844" y="488235"/>
                  </a:lnTo>
                  <a:lnTo>
                    <a:pt x="791662" y="443486"/>
                  </a:lnTo>
                  <a:lnTo>
                    <a:pt x="794334" y="397167"/>
                  </a:lnTo>
                  <a:lnTo>
                    <a:pt x="791662" y="350848"/>
                  </a:lnTo>
                  <a:lnTo>
                    <a:pt x="783844" y="306098"/>
                  </a:lnTo>
                  <a:lnTo>
                    <a:pt x="771180" y="263216"/>
                  </a:lnTo>
                  <a:lnTo>
                    <a:pt x="753966" y="222500"/>
                  </a:lnTo>
                  <a:lnTo>
                    <a:pt x="732501" y="184248"/>
                  </a:lnTo>
                  <a:lnTo>
                    <a:pt x="707082" y="148757"/>
                  </a:lnTo>
                  <a:lnTo>
                    <a:pt x="678008" y="116325"/>
                  </a:lnTo>
                  <a:lnTo>
                    <a:pt x="645576" y="87251"/>
                  </a:lnTo>
                  <a:lnTo>
                    <a:pt x="610085" y="61832"/>
                  </a:lnTo>
                  <a:lnTo>
                    <a:pt x="571833" y="40367"/>
                  </a:lnTo>
                  <a:lnTo>
                    <a:pt x="531117" y="23153"/>
                  </a:lnTo>
                  <a:lnTo>
                    <a:pt x="488235" y="10489"/>
                  </a:lnTo>
                  <a:lnTo>
                    <a:pt x="443486" y="2671"/>
                  </a:lnTo>
                  <a:lnTo>
                    <a:pt x="397167" y="0"/>
                  </a:lnTo>
                  <a:close/>
                </a:path>
              </a:pathLst>
            </a:custGeom>
            <a:solidFill>
              <a:srgbClr val="E5087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0" name="object 9">
              <a:extLst>
                <a:ext uri="{FF2B5EF4-FFF2-40B4-BE49-F238E27FC236}">
                  <a16:creationId xmlns:a16="http://schemas.microsoft.com/office/drawing/2014/main" id="{384B7869-F22A-FE26-DDD5-F9401AE9B493}"/>
                </a:ext>
              </a:extLst>
            </p:cNvPr>
            <p:cNvSpPr/>
            <p:nvPr/>
          </p:nvSpPr>
          <p:spPr>
            <a:xfrm>
              <a:off x="8360075" y="1618410"/>
              <a:ext cx="794385" cy="794385"/>
            </a:xfrm>
            <a:custGeom>
              <a:avLst/>
              <a:gdLst/>
              <a:ahLst/>
              <a:cxnLst/>
              <a:rect l="l" t="t" r="r" b="b"/>
              <a:pathLst>
                <a:path w="794384" h="794385">
                  <a:moveTo>
                    <a:pt x="397167" y="0"/>
                  </a:moveTo>
                  <a:lnTo>
                    <a:pt x="350848" y="2671"/>
                  </a:lnTo>
                  <a:lnTo>
                    <a:pt x="306098" y="10489"/>
                  </a:lnTo>
                  <a:lnTo>
                    <a:pt x="263216" y="23153"/>
                  </a:lnTo>
                  <a:lnTo>
                    <a:pt x="222500" y="40367"/>
                  </a:lnTo>
                  <a:lnTo>
                    <a:pt x="184248" y="61832"/>
                  </a:lnTo>
                  <a:lnTo>
                    <a:pt x="148757" y="87251"/>
                  </a:lnTo>
                  <a:lnTo>
                    <a:pt x="116325" y="116325"/>
                  </a:lnTo>
                  <a:lnTo>
                    <a:pt x="87251" y="148757"/>
                  </a:lnTo>
                  <a:lnTo>
                    <a:pt x="61832" y="184248"/>
                  </a:lnTo>
                  <a:lnTo>
                    <a:pt x="40367" y="222500"/>
                  </a:lnTo>
                  <a:lnTo>
                    <a:pt x="23153" y="263216"/>
                  </a:lnTo>
                  <a:lnTo>
                    <a:pt x="10489" y="306098"/>
                  </a:lnTo>
                  <a:lnTo>
                    <a:pt x="2671" y="350848"/>
                  </a:lnTo>
                  <a:lnTo>
                    <a:pt x="0" y="397167"/>
                  </a:lnTo>
                  <a:lnTo>
                    <a:pt x="2671" y="443486"/>
                  </a:lnTo>
                  <a:lnTo>
                    <a:pt x="10489" y="488235"/>
                  </a:lnTo>
                  <a:lnTo>
                    <a:pt x="23153" y="531117"/>
                  </a:lnTo>
                  <a:lnTo>
                    <a:pt x="40367" y="571833"/>
                  </a:lnTo>
                  <a:lnTo>
                    <a:pt x="61832" y="610085"/>
                  </a:lnTo>
                  <a:lnTo>
                    <a:pt x="87251" y="645576"/>
                  </a:lnTo>
                  <a:lnTo>
                    <a:pt x="116325" y="678008"/>
                  </a:lnTo>
                  <a:lnTo>
                    <a:pt x="148757" y="707082"/>
                  </a:lnTo>
                  <a:lnTo>
                    <a:pt x="184248" y="732501"/>
                  </a:lnTo>
                  <a:lnTo>
                    <a:pt x="222500" y="753966"/>
                  </a:lnTo>
                  <a:lnTo>
                    <a:pt x="263216" y="771180"/>
                  </a:lnTo>
                  <a:lnTo>
                    <a:pt x="306098" y="783844"/>
                  </a:lnTo>
                  <a:lnTo>
                    <a:pt x="350848" y="791662"/>
                  </a:lnTo>
                  <a:lnTo>
                    <a:pt x="397167" y="794334"/>
                  </a:lnTo>
                  <a:lnTo>
                    <a:pt x="443486" y="791662"/>
                  </a:lnTo>
                  <a:lnTo>
                    <a:pt x="488235" y="783844"/>
                  </a:lnTo>
                  <a:lnTo>
                    <a:pt x="531117" y="771180"/>
                  </a:lnTo>
                  <a:lnTo>
                    <a:pt x="571833" y="753966"/>
                  </a:lnTo>
                  <a:lnTo>
                    <a:pt x="610085" y="732501"/>
                  </a:lnTo>
                  <a:lnTo>
                    <a:pt x="645576" y="707082"/>
                  </a:lnTo>
                  <a:lnTo>
                    <a:pt x="678008" y="678008"/>
                  </a:lnTo>
                  <a:lnTo>
                    <a:pt x="707082" y="645576"/>
                  </a:lnTo>
                  <a:lnTo>
                    <a:pt x="732501" y="610085"/>
                  </a:lnTo>
                  <a:lnTo>
                    <a:pt x="753966" y="571833"/>
                  </a:lnTo>
                  <a:lnTo>
                    <a:pt x="771180" y="531117"/>
                  </a:lnTo>
                  <a:lnTo>
                    <a:pt x="783844" y="488235"/>
                  </a:lnTo>
                  <a:lnTo>
                    <a:pt x="791662" y="443486"/>
                  </a:lnTo>
                  <a:lnTo>
                    <a:pt x="794334" y="397167"/>
                  </a:lnTo>
                  <a:lnTo>
                    <a:pt x="791662" y="350848"/>
                  </a:lnTo>
                  <a:lnTo>
                    <a:pt x="783844" y="306098"/>
                  </a:lnTo>
                  <a:lnTo>
                    <a:pt x="771180" y="263216"/>
                  </a:lnTo>
                  <a:lnTo>
                    <a:pt x="753966" y="222500"/>
                  </a:lnTo>
                  <a:lnTo>
                    <a:pt x="732501" y="184248"/>
                  </a:lnTo>
                  <a:lnTo>
                    <a:pt x="707082" y="148757"/>
                  </a:lnTo>
                  <a:lnTo>
                    <a:pt x="678008" y="116325"/>
                  </a:lnTo>
                  <a:lnTo>
                    <a:pt x="645576" y="87251"/>
                  </a:lnTo>
                  <a:lnTo>
                    <a:pt x="610085" y="61832"/>
                  </a:lnTo>
                  <a:lnTo>
                    <a:pt x="571833" y="40367"/>
                  </a:lnTo>
                  <a:lnTo>
                    <a:pt x="531117" y="23153"/>
                  </a:lnTo>
                  <a:lnTo>
                    <a:pt x="488235" y="10489"/>
                  </a:lnTo>
                  <a:lnTo>
                    <a:pt x="443486" y="2671"/>
                  </a:lnTo>
                  <a:lnTo>
                    <a:pt x="397167" y="0"/>
                  </a:lnTo>
                  <a:close/>
                </a:path>
              </a:pathLst>
            </a:custGeom>
            <a:solidFill>
              <a:srgbClr val="007D8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1" name="object 10">
              <a:extLst>
                <a:ext uri="{FF2B5EF4-FFF2-40B4-BE49-F238E27FC236}">
                  <a16:creationId xmlns:a16="http://schemas.microsoft.com/office/drawing/2014/main" id="{E693CD52-D056-9433-FBEF-A5BB416E9687}"/>
                </a:ext>
              </a:extLst>
            </p:cNvPr>
            <p:cNvSpPr/>
            <p:nvPr/>
          </p:nvSpPr>
          <p:spPr>
            <a:xfrm>
              <a:off x="10026871" y="1618410"/>
              <a:ext cx="794385" cy="794385"/>
            </a:xfrm>
            <a:custGeom>
              <a:avLst/>
              <a:gdLst/>
              <a:ahLst/>
              <a:cxnLst/>
              <a:rect l="l" t="t" r="r" b="b"/>
              <a:pathLst>
                <a:path w="794384" h="794385">
                  <a:moveTo>
                    <a:pt x="397167" y="0"/>
                  </a:moveTo>
                  <a:lnTo>
                    <a:pt x="350848" y="2671"/>
                  </a:lnTo>
                  <a:lnTo>
                    <a:pt x="306098" y="10489"/>
                  </a:lnTo>
                  <a:lnTo>
                    <a:pt x="263216" y="23153"/>
                  </a:lnTo>
                  <a:lnTo>
                    <a:pt x="222500" y="40367"/>
                  </a:lnTo>
                  <a:lnTo>
                    <a:pt x="184248" y="61832"/>
                  </a:lnTo>
                  <a:lnTo>
                    <a:pt x="148757" y="87251"/>
                  </a:lnTo>
                  <a:lnTo>
                    <a:pt x="116325" y="116325"/>
                  </a:lnTo>
                  <a:lnTo>
                    <a:pt x="87251" y="148757"/>
                  </a:lnTo>
                  <a:lnTo>
                    <a:pt x="61832" y="184248"/>
                  </a:lnTo>
                  <a:lnTo>
                    <a:pt x="40367" y="222500"/>
                  </a:lnTo>
                  <a:lnTo>
                    <a:pt x="23153" y="263216"/>
                  </a:lnTo>
                  <a:lnTo>
                    <a:pt x="10489" y="306098"/>
                  </a:lnTo>
                  <a:lnTo>
                    <a:pt x="2671" y="350848"/>
                  </a:lnTo>
                  <a:lnTo>
                    <a:pt x="0" y="397167"/>
                  </a:lnTo>
                  <a:lnTo>
                    <a:pt x="2671" y="443486"/>
                  </a:lnTo>
                  <a:lnTo>
                    <a:pt x="10489" y="488235"/>
                  </a:lnTo>
                  <a:lnTo>
                    <a:pt x="23153" y="531117"/>
                  </a:lnTo>
                  <a:lnTo>
                    <a:pt x="40367" y="571833"/>
                  </a:lnTo>
                  <a:lnTo>
                    <a:pt x="61832" y="610085"/>
                  </a:lnTo>
                  <a:lnTo>
                    <a:pt x="87251" y="645576"/>
                  </a:lnTo>
                  <a:lnTo>
                    <a:pt x="116325" y="678008"/>
                  </a:lnTo>
                  <a:lnTo>
                    <a:pt x="148757" y="707082"/>
                  </a:lnTo>
                  <a:lnTo>
                    <a:pt x="184248" y="732501"/>
                  </a:lnTo>
                  <a:lnTo>
                    <a:pt x="222500" y="753966"/>
                  </a:lnTo>
                  <a:lnTo>
                    <a:pt x="263216" y="771180"/>
                  </a:lnTo>
                  <a:lnTo>
                    <a:pt x="306098" y="783844"/>
                  </a:lnTo>
                  <a:lnTo>
                    <a:pt x="350848" y="791662"/>
                  </a:lnTo>
                  <a:lnTo>
                    <a:pt x="397167" y="794334"/>
                  </a:lnTo>
                  <a:lnTo>
                    <a:pt x="443486" y="791662"/>
                  </a:lnTo>
                  <a:lnTo>
                    <a:pt x="488235" y="783844"/>
                  </a:lnTo>
                  <a:lnTo>
                    <a:pt x="531117" y="771180"/>
                  </a:lnTo>
                  <a:lnTo>
                    <a:pt x="571833" y="753966"/>
                  </a:lnTo>
                  <a:lnTo>
                    <a:pt x="610085" y="732501"/>
                  </a:lnTo>
                  <a:lnTo>
                    <a:pt x="645576" y="707082"/>
                  </a:lnTo>
                  <a:lnTo>
                    <a:pt x="678008" y="678008"/>
                  </a:lnTo>
                  <a:lnTo>
                    <a:pt x="707082" y="645576"/>
                  </a:lnTo>
                  <a:lnTo>
                    <a:pt x="732501" y="610085"/>
                  </a:lnTo>
                  <a:lnTo>
                    <a:pt x="753966" y="571833"/>
                  </a:lnTo>
                  <a:lnTo>
                    <a:pt x="771180" y="531117"/>
                  </a:lnTo>
                  <a:lnTo>
                    <a:pt x="783844" y="488235"/>
                  </a:lnTo>
                  <a:lnTo>
                    <a:pt x="791662" y="443486"/>
                  </a:lnTo>
                  <a:lnTo>
                    <a:pt x="794334" y="397167"/>
                  </a:lnTo>
                  <a:lnTo>
                    <a:pt x="791662" y="350848"/>
                  </a:lnTo>
                  <a:lnTo>
                    <a:pt x="783844" y="306098"/>
                  </a:lnTo>
                  <a:lnTo>
                    <a:pt x="771180" y="263216"/>
                  </a:lnTo>
                  <a:lnTo>
                    <a:pt x="753966" y="222500"/>
                  </a:lnTo>
                  <a:lnTo>
                    <a:pt x="732501" y="184248"/>
                  </a:lnTo>
                  <a:lnTo>
                    <a:pt x="707082" y="148757"/>
                  </a:lnTo>
                  <a:lnTo>
                    <a:pt x="678008" y="116325"/>
                  </a:lnTo>
                  <a:lnTo>
                    <a:pt x="645576" y="87251"/>
                  </a:lnTo>
                  <a:lnTo>
                    <a:pt x="610085" y="61832"/>
                  </a:lnTo>
                  <a:lnTo>
                    <a:pt x="571833" y="40367"/>
                  </a:lnTo>
                  <a:lnTo>
                    <a:pt x="531117" y="23153"/>
                  </a:lnTo>
                  <a:lnTo>
                    <a:pt x="488235" y="10489"/>
                  </a:lnTo>
                  <a:lnTo>
                    <a:pt x="443486" y="2671"/>
                  </a:lnTo>
                  <a:lnTo>
                    <a:pt x="397167" y="0"/>
                  </a:lnTo>
                  <a:close/>
                </a:path>
              </a:pathLst>
            </a:custGeom>
            <a:solidFill>
              <a:srgbClr val="007AA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6" name="object 18">
            <a:extLst>
              <a:ext uri="{FF2B5EF4-FFF2-40B4-BE49-F238E27FC236}">
                <a16:creationId xmlns:a16="http://schemas.microsoft.com/office/drawing/2014/main" id="{169E1072-2DA3-C303-9E7B-74F002439050}"/>
              </a:ext>
            </a:extLst>
          </p:cNvPr>
          <p:cNvSpPr/>
          <p:nvPr/>
        </p:nvSpPr>
        <p:spPr>
          <a:xfrm>
            <a:off x="7030338" y="2276272"/>
            <a:ext cx="2057530" cy="4046708"/>
          </a:xfrm>
          <a:custGeom>
            <a:avLst/>
            <a:gdLst/>
            <a:ahLst/>
            <a:cxnLst/>
            <a:rect l="l" t="t" r="r" b="b"/>
            <a:pathLst>
              <a:path w="2315845" h="4149090">
                <a:moveTo>
                  <a:pt x="2279649" y="0"/>
                </a:moveTo>
                <a:lnTo>
                  <a:pt x="36004" y="0"/>
                </a:lnTo>
                <a:lnTo>
                  <a:pt x="21988" y="2828"/>
                </a:lnTo>
                <a:lnTo>
                  <a:pt x="10544" y="10542"/>
                </a:lnTo>
                <a:lnTo>
                  <a:pt x="2828" y="21983"/>
                </a:lnTo>
                <a:lnTo>
                  <a:pt x="0" y="35991"/>
                </a:lnTo>
                <a:lnTo>
                  <a:pt x="0" y="4112641"/>
                </a:lnTo>
                <a:lnTo>
                  <a:pt x="2828" y="4126651"/>
                </a:lnTo>
                <a:lnTo>
                  <a:pt x="10544" y="4138096"/>
                </a:lnTo>
                <a:lnTo>
                  <a:pt x="21988" y="4145814"/>
                </a:lnTo>
                <a:lnTo>
                  <a:pt x="36004" y="4148645"/>
                </a:lnTo>
                <a:lnTo>
                  <a:pt x="2279649" y="4148645"/>
                </a:lnTo>
                <a:lnTo>
                  <a:pt x="2293666" y="4145814"/>
                </a:lnTo>
                <a:lnTo>
                  <a:pt x="2305110" y="4138096"/>
                </a:lnTo>
                <a:lnTo>
                  <a:pt x="2312825" y="4126651"/>
                </a:lnTo>
                <a:lnTo>
                  <a:pt x="2315654" y="4112641"/>
                </a:lnTo>
                <a:lnTo>
                  <a:pt x="2315654" y="35991"/>
                </a:lnTo>
                <a:lnTo>
                  <a:pt x="2312825" y="21983"/>
                </a:lnTo>
                <a:lnTo>
                  <a:pt x="2305110" y="10542"/>
                </a:lnTo>
                <a:lnTo>
                  <a:pt x="2293666" y="2828"/>
                </a:lnTo>
                <a:lnTo>
                  <a:pt x="2279649" y="0"/>
                </a:lnTo>
                <a:close/>
              </a:path>
            </a:pathLst>
          </a:custGeom>
          <a:solidFill>
            <a:srgbClr val="FEF3F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51">
            <a:extLst>
              <a:ext uri="{FF2B5EF4-FFF2-40B4-BE49-F238E27FC236}">
                <a16:creationId xmlns:a16="http://schemas.microsoft.com/office/drawing/2014/main" id="{0D13FBBD-CD60-4CA4-0054-26A9CDF97025}"/>
              </a:ext>
            </a:extLst>
          </p:cNvPr>
          <p:cNvSpPr txBox="1"/>
          <p:nvPr/>
        </p:nvSpPr>
        <p:spPr>
          <a:xfrm>
            <a:off x="7188567" y="2679638"/>
            <a:ext cx="1829392" cy="843028"/>
          </a:xfrm>
          <a:prstGeom prst="rect">
            <a:avLst/>
          </a:prstGeom>
        </p:spPr>
        <p:txBody>
          <a:bodyPr vert="horz" wrap="square" lIns="0" tIns="13693" rIns="0" bIns="0" rtlCol="0" anchor="t">
            <a:spAutoFit/>
          </a:bodyPr>
          <a:lstStyle/>
          <a:p>
            <a:pPr marL="12700">
              <a:lnSpc>
                <a:spcPct val="165106"/>
              </a:lnSpc>
              <a:spcBef>
                <a:spcPts val="108"/>
              </a:spcBef>
            </a:pPr>
            <a:r>
              <a:rPr lang="en-US" sz="3697" b="1" spc="-51">
                <a:solidFill>
                  <a:srgbClr val="E5087D"/>
                </a:solidFill>
                <a:latin typeface="AP Type Pro Text"/>
                <a:cs typeface="AP Type Pro Text"/>
              </a:rPr>
              <a:t>66%</a:t>
            </a:r>
            <a:endParaRPr lang="en-US" sz="3697">
              <a:latin typeface="AP Type Pro Text"/>
              <a:cs typeface="AP Type Pro Text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2454520" y="2276272"/>
            <a:ext cx="2057529" cy="4046708"/>
          </a:xfrm>
          <a:custGeom>
            <a:avLst/>
            <a:gdLst/>
            <a:ahLst/>
            <a:cxnLst/>
            <a:rect l="l" t="t" r="r" b="b"/>
            <a:pathLst>
              <a:path w="2315845" h="4149090">
                <a:moveTo>
                  <a:pt x="2279650" y="0"/>
                </a:moveTo>
                <a:lnTo>
                  <a:pt x="36004" y="0"/>
                </a:lnTo>
                <a:lnTo>
                  <a:pt x="21988" y="2828"/>
                </a:lnTo>
                <a:lnTo>
                  <a:pt x="10544" y="10542"/>
                </a:lnTo>
                <a:lnTo>
                  <a:pt x="2828" y="21983"/>
                </a:lnTo>
                <a:lnTo>
                  <a:pt x="0" y="35991"/>
                </a:lnTo>
                <a:lnTo>
                  <a:pt x="0" y="4112641"/>
                </a:lnTo>
                <a:lnTo>
                  <a:pt x="2828" y="4126651"/>
                </a:lnTo>
                <a:lnTo>
                  <a:pt x="10544" y="4138096"/>
                </a:lnTo>
                <a:lnTo>
                  <a:pt x="21988" y="4145814"/>
                </a:lnTo>
                <a:lnTo>
                  <a:pt x="36004" y="4148645"/>
                </a:lnTo>
                <a:lnTo>
                  <a:pt x="2279650" y="4148645"/>
                </a:lnTo>
                <a:lnTo>
                  <a:pt x="2293666" y="4145814"/>
                </a:lnTo>
                <a:lnTo>
                  <a:pt x="2305110" y="4138096"/>
                </a:lnTo>
                <a:lnTo>
                  <a:pt x="2312825" y="4126651"/>
                </a:lnTo>
                <a:lnTo>
                  <a:pt x="2315654" y="4112641"/>
                </a:lnTo>
                <a:lnTo>
                  <a:pt x="2315654" y="35991"/>
                </a:lnTo>
                <a:lnTo>
                  <a:pt x="2312825" y="21983"/>
                </a:lnTo>
                <a:lnTo>
                  <a:pt x="2305110" y="10542"/>
                </a:lnTo>
                <a:lnTo>
                  <a:pt x="2293666" y="2828"/>
                </a:lnTo>
                <a:lnTo>
                  <a:pt x="2279650" y="0"/>
                </a:lnTo>
                <a:close/>
              </a:path>
            </a:pathLst>
          </a:custGeom>
          <a:solidFill>
            <a:srgbClr val="FBE8E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9317778" y="2276272"/>
            <a:ext cx="2057529" cy="4046708"/>
          </a:xfrm>
          <a:custGeom>
            <a:avLst/>
            <a:gdLst/>
            <a:ahLst/>
            <a:cxnLst/>
            <a:rect l="l" t="t" r="r" b="b"/>
            <a:pathLst>
              <a:path w="2315845" h="4149090">
                <a:moveTo>
                  <a:pt x="2279650" y="0"/>
                </a:moveTo>
                <a:lnTo>
                  <a:pt x="36004" y="0"/>
                </a:lnTo>
                <a:lnTo>
                  <a:pt x="21988" y="2828"/>
                </a:lnTo>
                <a:lnTo>
                  <a:pt x="10544" y="10542"/>
                </a:lnTo>
                <a:lnTo>
                  <a:pt x="2828" y="21983"/>
                </a:lnTo>
                <a:lnTo>
                  <a:pt x="0" y="35991"/>
                </a:lnTo>
                <a:lnTo>
                  <a:pt x="0" y="4112641"/>
                </a:lnTo>
                <a:lnTo>
                  <a:pt x="2828" y="4126651"/>
                </a:lnTo>
                <a:lnTo>
                  <a:pt x="10544" y="4138096"/>
                </a:lnTo>
                <a:lnTo>
                  <a:pt x="21988" y="4145814"/>
                </a:lnTo>
                <a:lnTo>
                  <a:pt x="36004" y="4148645"/>
                </a:lnTo>
                <a:lnTo>
                  <a:pt x="2279650" y="4148645"/>
                </a:lnTo>
                <a:lnTo>
                  <a:pt x="2293666" y="4145814"/>
                </a:lnTo>
                <a:lnTo>
                  <a:pt x="2305110" y="4138096"/>
                </a:lnTo>
                <a:lnTo>
                  <a:pt x="2312825" y="4126651"/>
                </a:lnTo>
                <a:lnTo>
                  <a:pt x="2315654" y="4112641"/>
                </a:lnTo>
                <a:lnTo>
                  <a:pt x="2315654" y="35991"/>
                </a:lnTo>
                <a:lnTo>
                  <a:pt x="2312825" y="21983"/>
                </a:lnTo>
                <a:lnTo>
                  <a:pt x="2305110" y="10542"/>
                </a:lnTo>
                <a:lnTo>
                  <a:pt x="2293666" y="2828"/>
                </a:lnTo>
                <a:lnTo>
                  <a:pt x="2279650" y="0"/>
                </a:lnTo>
                <a:close/>
              </a:path>
            </a:pathLst>
          </a:custGeom>
          <a:solidFill>
            <a:srgbClr val="E5F2F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 txBox="1"/>
          <p:nvPr/>
        </p:nvSpPr>
        <p:spPr>
          <a:xfrm>
            <a:off x="2571752" y="2679636"/>
            <a:ext cx="1593945" cy="843028"/>
          </a:xfrm>
          <a:prstGeom prst="rect">
            <a:avLst/>
          </a:prstGeom>
        </p:spPr>
        <p:txBody>
          <a:bodyPr vert="horz" wrap="square" lIns="0" tIns="13693" rIns="0" bIns="0" rtlCol="0" anchor="t">
            <a:spAutoFit/>
          </a:bodyPr>
          <a:lstStyle/>
          <a:p>
            <a:pPr marL="12700">
              <a:lnSpc>
                <a:spcPct val="165106"/>
              </a:lnSpc>
              <a:spcBef>
                <a:spcPts val="108"/>
              </a:spcBef>
            </a:pPr>
            <a:r>
              <a:rPr lang="en-US" sz="3697" b="1" spc="-51">
                <a:solidFill>
                  <a:srgbClr val="DC1928"/>
                </a:solidFill>
                <a:latin typeface="AP Type Pro Text"/>
                <a:cs typeface="AP Type Pro Text Medium"/>
              </a:rPr>
              <a:t>93%</a:t>
            </a:r>
            <a:endParaRPr lang="en-US" sz="1027">
              <a:latin typeface="AP Type Pro Text Medium"/>
              <a:cs typeface="AP Type Pro Text Medium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4956645" y="2679638"/>
            <a:ext cx="1755874" cy="843028"/>
          </a:xfrm>
          <a:prstGeom prst="rect">
            <a:avLst/>
          </a:prstGeom>
        </p:spPr>
        <p:txBody>
          <a:bodyPr vert="horz" wrap="square" lIns="0" tIns="13693" rIns="0" bIns="0" rtlCol="0" anchor="t">
            <a:spAutoFit/>
          </a:bodyPr>
          <a:lstStyle/>
          <a:p>
            <a:pPr marL="12700">
              <a:lnSpc>
                <a:spcPct val="165106"/>
              </a:lnSpc>
              <a:spcBef>
                <a:spcPts val="108"/>
              </a:spcBef>
            </a:pPr>
            <a:r>
              <a:rPr lang="en-US" sz="3697" b="1" spc="-51">
                <a:solidFill>
                  <a:srgbClr val="007D82"/>
                </a:solidFill>
                <a:latin typeface="AP Type Pro Text"/>
                <a:cs typeface="AP Type Pro Text"/>
              </a:rPr>
              <a:t>82%</a:t>
            </a:r>
            <a:endParaRPr lang="en-US" sz="3697">
              <a:latin typeface="AP Type Pro Text"/>
              <a:cs typeface="AP Type Pro Text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9400630" y="2679638"/>
            <a:ext cx="1847185" cy="843028"/>
          </a:xfrm>
          <a:prstGeom prst="rect">
            <a:avLst/>
          </a:prstGeom>
        </p:spPr>
        <p:txBody>
          <a:bodyPr vert="horz" wrap="square" lIns="0" tIns="13693" rIns="0" bIns="0" rtlCol="0" anchor="t">
            <a:spAutoFit/>
          </a:bodyPr>
          <a:lstStyle/>
          <a:p>
            <a:pPr marL="12700">
              <a:lnSpc>
                <a:spcPct val="165106"/>
              </a:lnSpc>
              <a:spcBef>
                <a:spcPts val="108"/>
              </a:spcBef>
            </a:pPr>
            <a:r>
              <a:rPr lang="en-US" sz="3697" b="1" spc="-51">
                <a:solidFill>
                  <a:srgbClr val="007AAB"/>
                </a:solidFill>
                <a:latin typeface="AP Type Pro Text"/>
                <a:cs typeface="AP Type Pro Text"/>
              </a:rPr>
              <a:t>63%</a:t>
            </a:r>
            <a:endParaRPr lang="en-US" sz="3697">
              <a:latin typeface="AP Type Pro Text"/>
              <a:cs typeface="AP Type Pro Text"/>
            </a:endParaRPr>
          </a:p>
        </p:txBody>
      </p:sp>
      <p:sp>
        <p:nvSpPr>
          <p:cNvPr id="38" name="object 51">
            <a:extLst>
              <a:ext uri="{FF2B5EF4-FFF2-40B4-BE49-F238E27FC236}">
                <a16:creationId xmlns:a16="http://schemas.microsoft.com/office/drawing/2014/main" id="{75C97742-D0DC-AAED-386F-8BC4F8F08906}"/>
              </a:ext>
            </a:extLst>
          </p:cNvPr>
          <p:cNvSpPr txBox="1"/>
          <p:nvPr/>
        </p:nvSpPr>
        <p:spPr>
          <a:xfrm>
            <a:off x="7188567" y="3372481"/>
            <a:ext cx="1829392" cy="843028"/>
          </a:xfrm>
          <a:prstGeom prst="rect">
            <a:avLst/>
          </a:prstGeom>
        </p:spPr>
        <p:txBody>
          <a:bodyPr vert="horz" wrap="square" lIns="0" tIns="13693" rIns="0" bIns="0" rtlCol="0" anchor="t">
            <a:spAutoFit/>
          </a:bodyPr>
          <a:lstStyle/>
          <a:p>
            <a:pPr marL="12700">
              <a:lnSpc>
                <a:spcPct val="165106"/>
              </a:lnSpc>
              <a:spcBef>
                <a:spcPts val="108"/>
              </a:spcBef>
            </a:pPr>
            <a:r>
              <a:rPr lang="en-AU" sz="3697" b="1" spc="-51">
                <a:solidFill>
                  <a:srgbClr val="E5087D"/>
                </a:solidFill>
                <a:latin typeface="AP Type Pro Text"/>
                <a:cs typeface="AP Type Pro Text"/>
              </a:rPr>
              <a:t>31%</a:t>
            </a:r>
            <a:endParaRPr lang="en-AU" sz="3697">
              <a:latin typeface="AP Type Pro Text"/>
              <a:cs typeface="AP Type Pro Text"/>
            </a:endParaRPr>
          </a:p>
        </p:txBody>
      </p:sp>
      <p:sp>
        <p:nvSpPr>
          <p:cNvPr id="39" name="object 57">
            <a:extLst>
              <a:ext uri="{FF2B5EF4-FFF2-40B4-BE49-F238E27FC236}">
                <a16:creationId xmlns:a16="http://schemas.microsoft.com/office/drawing/2014/main" id="{88444691-8F93-7732-5867-4102C187A4FC}"/>
              </a:ext>
            </a:extLst>
          </p:cNvPr>
          <p:cNvSpPr txBox="1"/>
          <p:nvPr/>
        </p:nvSpPr>
        <p:spPr>
          <a:xfrm>
            <a:off x="2571754" y="3372480"/>
            <a:ext cx="1877943" cy="843028"/>
          </a:xfrm>
          <a:prstGeom prst="rect">
            <a:avLst/>
          </a:prstGeom>
        </p:spPr>
        <p:txBody>
          <a:bodyPr vert="horz" wrap="square" lIns="0" tIns="13693" rIns="0" bIns="0" rtlCol="0" anchor="t">
            <a:spAutoFit/>
          </a:bodyPr>
          <a:lstStyle/>
          <a:p>
            <a:pPr marL="12700">
              <a:lnSpc>
                <a:spcPct val="165106"/>
              </a:lnSpc>
              <a:spcBef>
                <a:spcPts val="108"/>
              </a:spcBef>
            </a:pPr>
            <a:r>
              <a:rPr lang="en-AU" sz="3697" b="1" spc="-51">
                <a:solidFill>
                  <a:srgbClr val="DC1928"/>
                </a:solidFill>
                <a:latin typeface="AP Type Pro Text"/>
                <a:cs typeface="AP Type Pro Text"/>
              </a:rPr>
              <a:t>67%</a:t>
            </a:r>
            <a:endParaRPr lang="en-AU" sz="3697">
              <a:latin typeface="AP Type Pro Text"/>
              <a:cs typeface="AP Type Pro Text"/>
            </a:endParaRPr>
          </a:p>
        </p:txBody>
      </p:sp>
      <p:sp>
        <p:nvSpPr>
          <p:cNvPr id="40" name="object 58">
            <a:extLst>
              <a:ext uri="{FF2B5EF4-FFF2-40B4-BE49-F238E27FC236}">
                <a16:creationId xmlns:a16="http://schemas.microsoft.com/office/drawing/2014/main" id="{14EEDC30-6CB8-F4A2-7D1E-B1ACDF99EA98}"/>
              </a:ext>
            </a:extLst>
          </p:cNvPr>
          <p:cNvSpPr txBox="1"/>
          <p:nvPr/>
        </p:nvSpPr>
        <p:spPr>
          <a:xfrm>
            <a:off x="4956645" y="3372481"/>
            <a:ext cx="1755874" cy="843028"/>
          </a:xfrm>
          <a:prstGeom prst="rect">
            <a:avLst/>
          </a:prstGeom>
        </p:spPr>
        <p:txBody>
          <a:bodyPr vert="horz" wrap="square" lIns="0" tIns="13693" rIns="0" bIns="0" rtlCol="0" anchor="t">
            <a:spAutoFit/>
          </a:bodyPr>
          <a:lstStyle/>
          <a:p>
            <a:pPr marL="12700">
              <a:lnSpc>
                <a:spcPct val="165106"/>
              </a:lnSpc>
              <a:spcBef>
                <a:spcPts val="108"/>
              </a:spcBef>
            </a:pPr>
            <a:r>
              <a:rPr lang="en-AU" sz="3697" b="1" spc="-51">
                <a:solidFill>
                  <a:srgbClr val="007D82"/>
                </a:solidFill>
                <a:latin typeface="AP Type Pro Text"/>
                <a:cs typeface="AP Type Pro Text"/>
              </a:rPr>
              <a:t>57%</a:t>
            </a:r>
            <a:endParaRPr lang="en-AU" sz="3697">
              <a:latin typeface="AP Type Pro Text"/>
              <a:cs typeface="AP Type Pro Text"/>
            </a:endParaRPr>
          </a:p>
        </p:txBody>
      </p:sp>
      <p:sp>
        <p:nvSpPr>
          <p:cNvPr id="41" name="object 60">
            <a:extLst>
              <a:ext uri="{FF2B5EF4-FFF2-40B4-BE49-F238E27FC236}">
                <a16:creationId xmlns:a16="http://schemas.microsoft.com/office/drawing/2014/main" id="{486974A0-6ADB-26AB-73F4-9B292F37FED4}"/>
              </a:ext>
            </a:extLst>
          </p:cNvPr>
          <p:cNvSpPr txBox="1"/>
          <p:nvPr/>
        </p:nvSpPr>
        <p:spPr>
          <a:xfrm>
            <a:off x="9400630" y="3372481"/>
            <a:ext cx="1847185" cy="843028"/>
          </a:xfrm>
          <a:prstGeom prst="rect">
            <a:avLst/>
          </a:prstGeom>
        </p:spPr>
        <p:txBody>
          <a:bodyPr vert="horz" wrap="square" lIns="0" tIns="13693" rIns="0" bIns="0" rtlCol="0" anchor="t">
            <a:spAutoFit/>
          </a:bodyPr>
          <a:lstStyle/>
          <a:p>
            <a:pPr marL="12700">
              <a:lnSpc>
                <a:spcPct val="165106"/>
              </a:lnSpc>
              <a:spcBef>
                <a:spcPts val="108"/>
              </a:spcBef>
            </a:pPr>
            <a:r>
              <a:rPr lang="en-AU" sz="3697" b="1" spc="-51">
                <a:solidFill>
                  <a:srgbClr val="007AAB"/>
                </a:solidFill>
                <a:latin typeface="AP Type Pro Text"/>
                <a:cs typeface="AP Type Pro Text"/>
              </a:rPr>
              <a:t>17%</a:t>
            </a:r>
            <a:endParaRPr lang="en-AU" sz="3697">
              <a:latin typeface="AP Type Pro Text"/>
              <a:cs typeface="AP Type Pro Text"/>
            </a:endParaRPr>
          </a:p>
        </p:txBody>
      </p:sp>
      <p:sp>
        <p:nvSpPr>
          <p:cNvPr id="43" name="object 51">
            <a:extLst>
              <a:ext uri="{FF2B5EF4-FFF2-40B4-BE49-F238E27FC236}">
                <a16:creationId xmlns:a16="http://schemas.microsoft.com/office/drawing/2014/main" id="{3A842807-2060-34B4-F7AB-85F729671EBF}"/>
              </a:ext>
            </a:extLst>
          </p:cNvPr>
          <p:cNvSpPr txBox="1"/>
          <p:nvPr/>
        </p:nvSpPr>
        <p:spPr>
          <a:xfrm>
            <a:off x="7188567" y="4094507"/>
            <a:ext cx="1829392" cy="843028"/>
          </a:xfrm>
          <a:prstGeom prst="rect">
            <a:avLst/>
          </a:prstGeom>
        </p:spPr>
        <p:txBody>
          <a:bodyPr vert="horz" wrap="square" lIns="0" tIns="13693" rIns="0" bIns="0" rtlCol="0" anchor="t">
            <a:spAutoFit/>
          </a:bodyPr>
          <a:lstStyle/>
          <a:p>
            <a:pPr marL="12700">
              <a:lnSpc>
                <a:spcPct val="165106"/>
              </a:lnSpc>
              <a:spcBef>
                <a:spcPts val="108"/>
              </a:spcBef>
            </a:pPr>
            <a:r>
              <a:rPr lang="en-AU" sz="3697" b="1" spc="-51">
                <a:solidFill>
                  <a:srgbClr val="E5087D"/>
                </a:solidFill>
                <a:latin typeface="AP Type Pro Text"/>
                <a:cs typeface="AP Type Pro Text"/>
              </a:rPr>
              <a:t>34%</a:t>
            </a:r>
            <a:endParaRPr lang="en-AU" sz="3697">
              <a:latin typeface="AP Type Pro Text"/>
              <a:cs typeface="AP Type Pro Text"/>
            </a:endParaRPr>
          </a:p>
        </p:txBody>
      </p:sp>
      <p:sp>
        <p:nvSpPr>
          <p:cNvPr id="44" name="object 57">
            <a:extLst>
              <a:ext uri="{FF2B5EF4-FFF2-40B4-BE49-F238E27FC236}">
                <a16:creationId xmlns:a16="http://schemas.microsoft.com/office/drawing/2014/main" id="{D80D5885-E703-8EC6-8228-C0B93D735AE5}"/>
              </a:ext>
            </a:extLst>
          </p:cNvPr>
          <p:cNvSpPr txBox="1"/>
          <p:nvPr/>
        </p:nvSpPr>
        <p:spPr>
          <a:xfrm>
            <a:off x="2571754" y="4094507"/>
            <a:ext cx="1877943" cy="843028"/>
          </a:xfrm>
          <a:prstGeom prst="rect">
            <a:avLst/>
          </a:prstGeom>
        </p:spPr>
        <p:txBody>
          <a:bodyPr vert="horz" wrap="square" lIns="0" tIns="13693" rIns="0" bIns="0" rtlCol="0" anchor="t">
            <a:spAutoFit/>
          </a:bodyPr>
          <a:lstStyle/>
          <a:p>
            <a:pPr marL="12700">
              <a:lnSpc>
                <a:spcPct val="165106"/>
              </a:lnSpc>
              <a:spcBef>
                <a:spcPts val="108"/>
              </a:spcBef>
            </a:pPr>
            <a:r>
              <a:rPr lang="en-US" sz="3697" b="1" spc="-51">
                <a:solidFill>
                  <a:srgbClr val="DC1928"/>
                </a:solidFill>
                <a:latin typeface="AP Type Pro Text"/>
                <a:cs typeface="AP Type Pro Text"/>
              </a:rPr>
              <a:t>51%</a:t>
            </a:r>
            <a:endParaRPr lang="en-US" sz="3697">
              <a:latin typeface="AP Type Pro Text"/>
              <a:cs typeface="AP Type Pro Text"/>
            </a:endParaRPr>
          </a:p>
        </p:txBody>
      </p:sp>
      <p:sp>
        <p:nvSpPr>
          <p:cNvPr id="45" name="object 58">
            <a:extLst>
              <a:ext uri="{FF2B5EF4-FFF2-40B4-BE49-F238E27FC236}">
                <a16:creationId xmlns:a16="http://schemas.microsoft.com/office/drawing/2014/main" id="{D2EB1D44-5630-FD7A-932E-8ECF79FCC6FA}"/>
              </a:ext>
            </a:extLst>
          </p:cNvPr>
          <p:cNvSpPr txBox="1"/>
          <p:nvPr/>
        </p:nvSpPr>
        <p:spPr>
          <a:xfrm>
            <a:off x="4956645" y="4094507"/>
            <a:ext cx="1755874" cy="843028"/>
          </a:xfrm>
          <a:prstGeom prst="rect">
            <a:avLst/>
          </a:prstGeom>
        </p:spPr>
        <p:txBody>
          <a:bodyPr vert="horz" wrap="square" lIns="0" tIns="13693" rIns="0" bIns="0" rtlCol="0" anchor="t">
            <a:spAutoFit/>
          </a:bodyPr>
          <a:lstStyle/>
          <a:p>
            <a:pPr marL="12700">
              <a:lnSpc>
                <a:spcPct val="165106"/>
              </a:lnSpc>
              <a:spcBef>
                <a:spcPts val="108"/>
              </a:spcBef>
            </a:pPr>
            <a:r>
              <a:rPr lang="en-AU" sz="3697" b="1" spc="-51">
                <a:solidFill>
                  <a:srgbClr val="007D82"/>
                </a:solidFill>
                <a:latin typeface="AP Type Pro Text"/>
                <a:cs typeface="AP Type Pro Text"/>
              </a:rPr>
              <a:t>44%</a:t>
            </a:r>
            <a:endParaRPr lang="en-AU" sz="3697">
              <a:latin typeface="AP Type Pro Text"/>
              <a:cs typeface="AP Type Pro Text"/>
            </a:endParaRPr>
          </a:p>
        </p:txBody>
      </p:sp>
      <p:sp>
        <p:nvSpPr>
          <p:cNvPr id="46" name="object 60">
            <a:extLst>
              <a:ext uri="{FF2B5EF4-FFF2-40B4-BE49-F238E27FC236}">
                <a16:creationId xmlns:a16="http://schemas.microsoft.com/office/drawing/2014/main" id="{64B8A782-E972-AE43-8CA3-ABECD9CA1A57}"/>
              </a:ext>
            </a:extLst>
          </p:cNvPr>
          <p:cNvSpPr txBox="1"/>
          <p:nvPr/>
        </p:nvSpPr>
        <p:spPr>
          <a:xfrm>
            <a:off x="9400630" y="4094507"/>
            <a:ext cx="1847185" cy="843028"/>
          </a:xfrm>
          <a:prstGeom prst="rect">
            <a:avLst/>
          </a:prstGeom>
        </p:spPr>
        <p:txBody>
          <a:bodyPr vert="horz" wrap="square" lIns="0" tIns="13693" rIns="0" bIns="0" rtlCol="0" anchor="t">
            <a:spAutoFit/>
          </a:bodyPr>
          <a:lstStyle/>
          <a:p>
            <a:pPr marL="12700">
              <a:lnSpc>
                <a:spcPct val="165106"/>
              </a:lnSpc>
              <a:spcBef>
                <a:spcPts val="108"/>
              </a:spcBef>
            </a:pPr>
            <a:r>
              <a:rPr lang="en-AU" sz="3697" b="1" spc="-51">
                <a:solidFill>
                  <a:srgbClr val="007AAB"/>
                </a:solidFill>
                <a:latin typeface="AP Type Pro Text"/>
                <a:cs typeface="AP Type Pro Text"/>
              </a:rPr>
              <a:t>21%</a:t>
            </a:r>
            <a:r>
              <a:rPr lang="en-AU" sz="3697" b="1" spc="-51">
                <a:solidFill>
                  <a:srgbClr val="E5F2F7"/>
                </a:solidFill>
                <a:latin typeface="AP Type Pro Text"/>
                <a:cs typeface="AP Type Pro Text"/>
              </a:rPr>
              <a:t>.</a:t>
            </a:r>
            <a:endParaRPr lang="en-AU" sz="3697">
              <a:solidFill>
                <a:srgbClr val="E5F2F7"/>
              </a:solidFill>
              <a:latin typeface="AP Type Pro Text"/>
              <a:cs typeface="AP Type Pro Text"/>
            </a:endParaRPr>
          </a:p>
        </p:txBody>
      </p:sp>
      <p:sp>
        <p:nvSpPr>
          <p:cNvPr id="13" name="object 13">
            <a:extLst>
              <a:ext uri="{FF2B5EF4-FFF2-40B4-BE49-F238E27FC236}">
                <a16:creationId xmlns:a16="http://schemas.microsoft.com/office/drawing/2014/main" id="{C4AA7443-0325-E0E3-B356-1037D8E1E305}"/>
              </a:ext>
            </a:extLst>
          </p:cNvPr>
          <p:cNvSpPr txBox="1"/>
          <p:nvPr/>
        </p:nvSpPr>
        <p:spPr>
          <a:xfrm>
            <a:off x="793706" y="2927481"/>
            <a:ext cx="1549906" cy="548868"/>
          </a:xfrm>
          <a:prstGeom prst="rect">
            <a:avLst/>
          </a:prstGeom>
        </p:spPr>
        <p:txBody>
          <a:bodyPr vert="horz" wrap="square" lIns="0" tIns="13041" rIns="0" bIns="0" rtlCol="0">
            <a:spAutoFit/>
          </a:bodyPr>
          <a:lstStyle/>
          <a:p>
            <a:pPr marL="13042">
              <a:spcBef>
                <a:spcPts val="103"/>
              </a:spcBef>
            </a:pPr>
            <a:r>
              <a:rPr lang="en-AU" sz="1130">
                <a:solidFill>
                  <a:schemeClr val="tx1"/>
                </a:solidFill>
                <a:latin typeface="AP Type Text" panose="020B0503030202060203" pitchFamily="34" charset="0"/>
              </a:rPr>
              <a:t>Prefer brands that align with their </a:t>
            </a:r>
            <a:r>
              <a:rPr lang="en-AU" sz="1130" b="1">
                <a:solidFill>
                  <a:schemeClr val="tx1"/>
                </a:solidFill>
                <a:latin typeface="AP Type Text" panose="020B0503030202060203" pitchFamily="34" charset="0"/>
              </a:rPr>
              <a:t>sustainability</a:t>
            </a:r>
            <a:r>
              <a:rPr lang="en-AU" sz="1130">
                <a:solidFill>
                  <a:schemeClr val="tx1"/>
                </a:solidFill>
                <a:latin typeface="AP Type Text" panose="020B0503030202060203" pitchFamily="34" charset="0"/>
              </a:rPr>
              <a:t> values </a:t>
            </a:r>
          </a:p>
        </p:txBody>
      </p:sp>
      <p:sp>
        <p:nvSpPr>
          <p:cNvPr id="19" name="object 13">
            <a:extLst>
              <a:ext uri="{FF2B5EF4-FFF2-40B4-BE49-F238E27FC236}">
                <a16:creationId xmlns:a16="http://schemas.microsoft.com/office/drawing/2014/main" id="{A7C95A4B-35AF-8942-7495-96DE08109C6E}"/>
              </a:ext>
            </a:extLst>
          </p:cNvPr>
          <p:cNvSpPr txBox="1"/>
          <p:nvPr/>
        </p:nvSpPr>
        <p:spPr>
          <a:xfrm>
            <a:off x="816608" y="3615832"/>
            <a:ext cx="1559904" cy="548868"/>
          </a:xfrm>
          <a:prstGeom prst="rect">
            <a:avLst/>
          </a:prstGeom>
        </p:spPr>
        <p:txBody>
          <a:bodyPr vert="horz" wrap="square" lIns="0" tIns="13041" rIns="0" bIns="0" rtlCol="0">
            <a:spAutoFit/>
          </a:bodyPr>
          <a:lstStyle>
            <a:defPPr>
              <a:defRPr kern="0"/>
            </a:defPPr>
            <a:lvl1pPr marL="12700">
              <a:lnSpc>
                <a:spcPct val="100000"/>
              </a:lnSpc>
              <a:spcBef>
                <a:spcPts val="100"/>
              </a:spcBef>
              <a:defRPr sz="1200">
                <a:solidFill>
                  <a:srgbClr val="007C80"/>
                </a:solidFill>
                <a:latin typeface="AP Type Pro Text Medium"/>
              </a:defRPr>
            </a:lvl1pPr>
          </a:lstStyle>
          <a:p>
            <a:r>
              <a:rPr lang="en-AU" sz="1130">
                <a:solidFill>
                  <a:schemeClr val="tx1"/>
                </a:solidFill>
                <a:latin typeface="AP Type Text" panose="020B0503030202060203" pitchFamily="34" charset="0"/>
              </a:rPr>
              <a:t>Chooses another retailer if they offer </a:t>
            </a:r>
            <a:r>
              <a:rPr lang="en-AU" sz="1130" b="1">
                <a:solidFill>
                  <a:schemeClr val="tx1"/>
                </a:solidFill>
                <a:latin typeface="AP Type Text" panose="020B0503030202060203" pitchFamily="34" charset="0"/>
              </a:rPr>
              <a:t>faster shipping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C1902B0-743F-93D5-7242-4FF97F41351A}"/>
              </a:ext>
            </a:extLst>
          </p:cNvPr>
          <p:cNvCxnSpPr>
            <a:cxnSpLocks/>
          </p:cNvCxnSpPr>
          <p:nvPr/>
        </p:nvCxnSpPr>
        <p:spPr>
          <a:xfrm>
            <a:off x="788795" y="3526525"/>
            <a:ext cx="1061196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object 13">
            <a:extLst>
              <a:ext uri="{FF2B5EF4-FFF2-40B4-BE49-F238E27FC236}">
                <a16:creationId xmlns:a16="http://schemas.microsoft.com/office/drawing/2014/main" id="{78D4208A-9F5C-8E6A-892D-7174C6595B8F}"/>
              </a:ext>
            </a:extLst>
          </p:cNvPr>
          <p:cNvSpPr txBox="1"/>
          <p:nvPr/>
        </p:nvSpPr>
        <p:spPr>
          <a:xfrm>
            <a:off x="816608" y="4398567"/>
            <a:ext cx="1559904" cy="370302"/>
          </a:xfrm>
          <a:prstGeom prst="rect">
            <a:avLst/>
          </a:prstGeom>
        </p:spPr>
        <p:txBody>
          <a:bodyPr vert="horz" wrap="square" lIns="0" tIns="13041" rIns="0" bIns="0" rtlCol="0">
            <a:spAutoFit/>
          </a:bodyPr>
          <a:lstStyle>
            <a:defPPr>
              <a:defRPr kern="0"/>
            </a:defPPr>
            <a:lvl1pPr marL="12700">
              <a:lnSpc>
                <a:spcPct val="100000"/>
              </a:lnSpc>
              <a:spcBef>
                <a:spcPts val="100"/>
              </a:spcBef>
              <a:defRPr sz="1200">
                <a:solidFill>
                  <a:srgbClr val="007C80"/>
                </a:solidFill>
                <a:latin typeface="AP Type Pro Text Medium"/>
              </a:defRPr>
            </a:lvl1pPr>
          </a:lstStyle>
          <a:p>
            <a:r>
              <a:rPr lang="en-AU" sz="1130" b="1">
                <a:solidFill>
                  <a:schemeClr val="tx1"/>
                </a:solidFill>
                <a:latin typeface="AP Type Text" panose="020B0503030202060203" pitchFamily="34" charset="0"/>
              </a:rPr>
              <a:t>Returned</a:t>
            </a:r>
            <a:r>
              <a:rPr lang="en-AU" sz="1130">
                <a:solidFill>
                  <a:schemeClr val="tx1"/>
                </a:solidFill>
                <a:latin typeface="AP Type Text" panose="020B0503030202060203" pitchFamily="34" charset="0"/>
              </a:rPr>
              <a:t> an item in the last 12 months</a:t>
            </a: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54088FC8-B1D3-2141-66F9-B729CD2004AE}"/>
              </a:ext>
            </a:extLst>
          </p:cNvPr>
          <p:cNvCxnSpPr>
            <a:cxnSpLocks/>
          </p:cNvCxnSpPr>
          <p:nvPr/>
        </p:nvCxnSpPr>
        <p:spPr>
          <a:xfrm>
            <a:off x="788795" y="4239522"/>
            <a:ext cx="1061196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725EA94F-808D-66E6-5FFE-1176C7B14507}"/>
              </a:ext>
            </a:extLst>
          </p:cNvPr>
          <p:cNvCxnSpPr>
            <a:cxnSpLocks/>
          </p:cNvCxnSpPr>
          <p:nvPr/>
        </p:nvCxnSpPr>
        <p:spPr>
          <a:xfrm>
            <a:off x="788795" y="4895106"/>
            <a:ext cx="1061196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object 51">
            <a:extLst>
              <a:ext uri="{FF2B5EF4-FFF2-40B4-BE49-F238E27FC236}">
                <a16:creationId xmlns:a16="http://schemas.microsoft.com/office/drawing/2014/main" id="{01458835-D985-6F68-FD69-15AD0F40C51F}"/>
              </a:ext>
            </a:extLst>
          </p:cNvPr>
          <p:cNvSpPr txBox="1"/>
          <p:nvPr/>
        </p:nvSpPr>
        <p:spPr>
          <a:xfrm>
            <a:off x="7188567" y="4723064"/>
            <a:ext cx="1829392" cy="1597594"/>
          </a:xfrm>
          <a:prstGeom prst="rect">
            <a:avLst/>
          </a:prstGeom>
        </p:spPr>
        <p:txBody>
          <a:bodyPr vert="horz" wrap="square" lIns="0" tIns="13693" rIns="0" bIns="0" rtlCol="0" anchor="t">
            <a:spAutoFit/>
          </a:bodyPr>
          <a:lstStyle/>
          <a:p>
            <a:pPr marL="12700">
              <a:lnSpc>
                <a:spcPct val="165106"/>
              </a:lnSpc>
              <a:spcBef>
                <a:spcPts val="108"/>
              </a:spcBef>
            </a:pPr>
            <a:r>
              <a:rPr lang="en-AU" sz="3697" b="1" spc="-51">
                <a:solidFill>
                  <a:srgbClr val="E5087D"/>
                </a:solidFill>
                <a:latin typeface="AP Type Pro Text"/>
                <a:cs typeface="AP Type Pro Text"/>
              </a:rPr>
              <a:t>34%</a:t>
            </a:r>
            <a:endParaRPr lang="en-AU" sz="3697">
              <a:latin typeface="AP Type Pro Text"/>
              <a:cs typeface="AP Type Pro Text"/>
            </a:endParaRPr>
          </a:p>
          <a:p>
            <a:pPr marL="13042">
              <a:spcBef>
                <a:spcPts val="103"/>
              </a:spcBef>
            </a:pPr>
            <a:r>
              <a:rPr lang="en-AU" sz="1027">
                <a:solidFill>
                  <a:srgbClr val="000000"/>
                </a:solidFill>
                <a:latin typeface="AP Type Pro Text" panose="020B0604020202020204" charset="0"/>
              </a:rPr>
              <a:t>highly value the push notifications and real-time updates from the </a:t>
            </a:r>
            <a:r>
              <a:rPr lang="en-AU" sz="1027" b="1">
                <a:solidFill>
                  <a:srgbClr val="000000"/>
                </a:solidFill>
                <a:latin typeface="AP Type Pro Text" panose="020B0604020202020204" charset="0"/>
              </a:rPr>
              <a:t>Australia Post App</a:t>
            </a:r>
          </a:p>
        </p:txBody>
      </p:sp>
      <p:sp>
        <p:nvSpPr>
          <p:cNvPr id="81" name="object 57">
            <a:extLst>
              <a:ext uri="{FF2B5EF4-FFF2-40B4-BE49-F238E27FC236}">
                <a16:creationId xmlns:a16="http://schemas.microsoft.com/office/drawing/2014/main" id="{621DBC0F-60B9-3039-1886-1429D542DDC0}"/>
              </a:ext>
            </a:extLst>
          </p:cNvPr>
          <p:cNvSpPr txBox="1"/>
          <p:nvPr/>
        </p:nvSpPr>
        <p:spPr>
          <a:xfrm>
            <a:off x="2577731" y="4723064"/>
            <a:ext cx="1826295" cy="1439538"/>
          </a:xfrm>
          <a:prstGeom prst="rect">
            <a:avLst/>
          </a:prstGeom>
        </p:spPr>
        <p:txBody>
          <a:bodyPr vert="horz" wrap="square" lIns="0" tIns="13693" rIns="0" bIns="0" rtlCol="0" anchor="t">
            <a:spAutoFit/>
          </a:bodyPr>
          <a:lstStyle/>
          <a:p>
            <a:pPr marL="12700">
              <a:lnSpc>
                <a:spcPct val="165106"/>
              </a:lnSpc>
              <a:spcBef>
                <a:spcPts val="108"/>
              </a:spcBef>
            </a:pPr>
            <a:r>
              <a:rPr lang="en-US" sz="3697" b="1" spc="-51">
                <a:solidFill>
                  <a:srgbClr val="DC1928"/>
                </a:solidFill>
                <a:latin typeface="AP Type Pro Text"/>
                <a:cs typeface="AP Type Pro Text"/>
              </a:rPr>
              <a:t>16%</a:t>
            </a:r>
            <a:endParaRPr lang="en-US" sz="3697">
              <a:latin typeface="AP Type Pro Text"/>
              <a:cs typeface="AP Type Pro Text"/>
            </a:endParaRPr>
          </a:p>
          <a:p>
            <a:pPr marL="13042">
              <a:spcBef>
                <a:spcPts val="103"/>
              </a:spcBef>
            </a:pPr>
            <a:r>
              <a:rPr lang="en-AU" sz="1027">
                <a:solidFill>
                  <a:srgbClr val="000000"/>
                </a:solidFill>
                <a:latin typeface="AP Type Pro Text" panose="020B0604020202020204" charset="0"/>
              </a:rPr>
              <a:t>value the convenience of adding </a:t>
            </a:r>
            <a:r>
              <a:rPr lang="en-AU" sz="1027" b="1">
                <a:solidFill>
                  <a:srgbClr val="000000"/>
                </a:solidFill>
                <a:latin typeface="AP Type Pro Text" panose="020B0604020202020204" charset="0"/>
              </a:rPr>
              <a:t>Parcel Locker </a:t>
            </a:r>
            <a:r>
              <a:rPr lang="en-AU" sz="1027">
                <a:solidFill>
                  <a:srgbClr val="000000"/>
                </a:solidFill>
                <a:latin typeface="AP Type Pro Text" panose="020B0604020202020204" charset="0"/>
              </a:rPr>
              <a:t>locations in the Australia Post App</a:t>
            </a:r>
            <a:endParaRPr lang="en-AU" sz="1027" u="sng">
              <a:latin typeface="AP Type Pro Text" panose="020B0604020202020204" charset="0"/>
              <a:cs typeface="AP Type Pro Text Light"/>
            </a:endParaRPr>
          </a:p>
        </p:txBody>
      </p:sp>
      <p:sp>
        <p:nvSpPr>
          <p:cNvPr id="82" name="object 58">
            <a:extLst>
              <a:ext uri="{FF2B5EF4-FFF2-40B4-BE49-F238E27FC236}">
                <a16:creationId xmlns:a16="http://schemas.microsoft.com/office/drawing/2014/main" id="{DC2BC294-7E0D-FE89-F7BA-107817C705F2}"/>
              </a:ext>
            </a:extLst>
          </p:cNvPr>
          <p:cNvSpPr txBox="1"/>
          <p:nvPr/>
        </p:nvSpPr>
        <p:spPr>
          <a:xfrm>
            <a:off x="4956645" y="4723064"/>
            <a:ext cx="1755874" cy="1439538"/>
          </a:xfrm>
          <a:prstGeom prst="rect">
            <a:avLst/>
          </a:prstGeom>
        </p:spPr>
        <p:txBody>
          <a:bodyPr vert="horz" wrap="square" lIns="0" tIns="13693" rIns="0" bIns="0" rtlCol="0" anchor="t">
            <a:spAutoFit/>
          </a:bodyPr>
          <a:lstStyle/>
          <a:p>
            <a:pPr marL="12700">
              <a:lnSpc>
                <a:spcPct val="165106"/>
              </a:lnSpc>
              <a:spcBef>
                <a:spcPts val="108"/>
              </a:spcBef>
            </a:pPr>
            <a:r>
              <a:rPr lang="en-AU" sz="3697" b="1" spc="-51">
                <a:solidFill>
                  <a:srgbClr val="007D82"/>
                </a:solidFill>
                <a:latin typeface="AP Type Pro Text"/>
                <a:cs typeface="AP Type Pro Text"/>
              </a:rPr>
              <a:t>24%</a:t>
            </a:r>
            <a:endParaRPr lang="en-AU" sz="3697">
              <a:latin typeface="AP Type Pro Text"/>
              <a:cs typeface="AP Type Pro Text"/>
            </a:endParaRPr>
          </a:p>
          <a:p>
            <a:pPr marL="13042">
              <a:spcBef>
                <a:spcPts val="103"/>
              </a:spcBef>
            </a:pPr>
            <a:r>
              <a:rPr lang="en-AU" sz="1027">
                <a:solidFill>
                  <a:srgbClr val="000000"/>
                </a:solidFill>
                <a:latin typeface="AP Type Pro Text" panose="020B0604020202020204" charset="0"/>
              </a:rPr>
              <a:t>love the ability to rename their deliveries in the </a:t>
            </a:r>
            <a:r>
              <a:rPr lang="en-AU" sz="1027" b="1">
                <a:solidFill>
                  <a:srgbClr val="000000"/>
                </a:solidFill>
                <a:latin typeface="AP Type Pro Text" panose="020B0604020202020204" charset="0"/>
              </a:rPr>
              <a:t>Australia Post App</a:t>
            </a:r>
          </a:p>
        </p:txBody>
      </p:sp>
      <p:sp>
        <p:nvSpPr>
          <p:cNvPr id="83" name="object 60">
            <a:extLst>
              <a:ext uri="{FF2B5EF4-FFF2-40B4-BE49-F238E27FC236}">
                <a16:creationId xmlns:a16="http://schemas.microsoft.com/office/drawing/2014/main" id="{058A21A4-34B6-D89D-3821-48793DA84978}"/>
              </a:ext>
            </a:extLst>
          </p:cNvPr>
          <p:cNvSpPr txBox="1"/>
          <p:nvPr/>
        </p:nvSpPr>
        <p:spPr>
          <a:xfrm>
            <a:off x="9400630" y="4723064"/>
            <a:ext cx="1958432" cy="1597594"/>
          </a:xfrm>
          <a:prstGeom prst="rect">
            <a:avLst/>
          </a:prstGeom>
        </p:spPr>
        <p:txBody>
          <a:bodyPr vert="horz" wrap="square" lIns="0" tIns="13693" rIns="0" bIns="0" rtlCol="0" anchor="t">
            <a:spAutoFit/>
          </a:bodyPr>
          <a:lstStyle/>
          <a:p>
            <a:pPr marL="12700">
              <a:lnSpc>
                <a:spcPct val="165106"/>
              </a:lnSpc>
              <a:spcBef>
                <a:spcPts val="108"/>
              </a:spcBef>
            </a:pPr>
            <a:r>
              <a:rPr lang="en-AU" sz="3697" b="1" spc="-51">
                <a:solidFill>
                  <a:srgbClr val="007AAB"/>
                </a:solidFill>
                <a:latin typeface="AP Type Pro Text"/>
                <a:cs typeface="AP Type Pro Text"/>
              </a:rPr>
              <a:t>63%</a:t>
            </a:r>
            <a:endParaRPr lang="en-AU" sz="3697">
              <a:latin typeface="AP Type Pro Text"/>
              <a:cs typeface="AP Type Pro Text"/>
            </a:endParaRPr>
          </a:p>
          <a:p>
            <a:pPr marL="13042">
              <a:spcBef>
                <a:spcPts val="103"/>
              </a:spcBef>
            </a:pPr>
            <a:r>
              <a:rPr lang="en-AU" sz="1027">
                <a:solidFill>
                  <a:srgbClr val="000000"/>
                </a:solidFill>
                <a:latin typeface="AP Type Pro Text" panose="020B0604020202020204" charset="0"/>
              </a:rPr>
              <a:t>find the ability to automatically track parcels in the one spot the most important feature of the </a:t>
            </a:r>
            <a:r>
              <a:rPr lang="en-AU" sz="1027" b="1">
                <a:solidFill>
                  <a:srgbClr val="000000"/>
                </a:solidFill>
                <a:latin typeface="AP Type Pro Text" panose="020B0604020202020204" charset="0"/>
              </a:rPr>
              <a:t>Australia Post App</a:t>
            </a:r>
          </a:p>
        </p:txBody>
      </p:sp>
      <p:sp>
        <p:nvSpPr>
          <p:cNvPr id="85" name="object 5">
            <a:extLst>
              <a:ext uri="{FF2B5EF4-FFF2-40B4-BE49-F238E27FC236}">
                <a16:creationId xmlns:a16="http://schemas.microsoft.com/office/drawing/2014/main" id="{FF20FE75-B319-54C3-1EF8-7A57C41E77E3}"/>
              </a:ext>
            </a:extLst>
          </p:cNvPr>
          <p:cNvSpPr txBox="1"/>
          <p:nvPr/>
        </p:nvSpPr>
        <p:spPr>
          <a:xfrm>
            <a:off x="6931931" y="1224274"/>
            <a:ext cx="923316" cy="297084"/>
          </a:xfrm>
          <a:prstGeom prst="rect">
            <a:avLst/>
          </a:prstGeom>
        </p:spPr>
        <p:txBody>
          <a:bodyPr vert="horz" wrap="square" lIns="0" tIns="52165" rIns="0" bIns="0" rtlCol="0">
            <a:spAutoFit/>
          </a:bodyPr>
          <a:lstStyle/>
          <a:p>
            <a:pPr marL="13042" marR="5217">
              <a:lnSpc>
                <a:spcPct val="75000"/>
              </a:lnSpc>
              <a:spcBef>
                <a:spcPts val="411"/>
              </a:spcBef>
            </a:pPr>
            <a:r>
              <a:rPr lang="en-US" sz="1027">
                <a:latin typeface="AP Type Pro Text Medium"/>
                <a:cs typeface="AP Type Pro Text Medium"/>
              </a:rPr>
              <a:t>Preferred category</a:t>
            </a:r>
          </a:p>
        </p:txBody>
      </p:sp>
      <p:sp>
        <p:nvSpPr>
          <p:cNvPr id="92" name="object 11">
            <a:extLst>
              <a:ext uri="{FF2B5EF4-FFF2-40B4-BE49-F238E27FC236}">
                <a16:creationId xmlns:a16="http://schemas.microsoft.com/office/drawing/2014/main" id="{8C779474-D85A-DEE9-9B35-38A8539AB687}"/>
              </a:ext>
            </a:extLst>
          </p:cNvPr>
          <p:cNvSpPr txBox="1"/>
          <p:nvPr/>
        </p:nvSpPr>
        <p:spPr>
          <a:xfrm>
            <a:off x="7818242" y="1006663"/>
            <a:ext cx="2772000" cy="148299"/>
          </a:xfrm>
          <a:prstGeom prst="rect">
            <a:avLst/>
          </a:prstGeom>
        </p:spPr>
        <p:txBody>
          <a:bodyPr vert="horz" wrap="square" lIns="0" tIns="11737" rIns="0" bIns="0" rtlCol="0" anchor="t">
            <a:spAutoFit/>
          </a:bodyPr>
          <a:lstStyle/>
          <a:p>
            <a:pPr marL="186055">
              <a:lnSpc>
                <a:spcPct val="134523"/>
              </a:lnSpc>
              <a:spcBef>
                <a:spcPts val="92"/>
              </a:spcBef>
              <a:tabLst>
                <a:tab pos="1042593" algn="l"/>
                <a:tab pos="1898706" algn="l"/>
                <a:tab pos="2688311" algn="l"/>
              </a:tabLst>
            </a:pPr>
            <a:r>
              <a:rPr lang="en-AU" sz="719" b="1" spc="-26">
                <a:solidFill>
                  <a:srgbClr val="FFFFFF"/>
                </a:solidFill>
                <a:latin typeface="AP Type Pro Text"/>
                <a:cs typeface="AP Type Pro Text"/>
              </a:rPr>
              <a:t>Gen</a:t>
            </a:r>
            <a:r>
              <a:rPr lang="en-AU" sz="719" b="1" spc="-15">
                <a:solidFill>
                  <a:srgbClr val="FFFFFF"/>
                </a:solidFill>
                <a:latin typeface="AP Type Pro Text"/>
                <a:cs typeface="AP Type Pro Text"/>
              </a:rPr>
              <a:t> </a:t>
            </a:r>
            <a:r>
              <a:rPr lang="en-AU" sz="719" b="1" spc="-51">
                <a:solidFill>
                  <a:srgbClr val="FFFFFF"/>
                </a:solidFill>
                <a:latin typeface="AP Type Pro Text"/>
                <a:cs typeface="AP Type Pro Text"/>
              </a:rPr>
              <a:t>Z</a:t>
            </a:r>
            <a:r>
              <a:rPr lang="en-AU" sz="719" b="1">
                <a:solidFill>
                  <a:srgbClr val="FFFFFF"/>
                </a:solidFill>
                <a:latin typeface="AP Type Pro Text"/>
                <a:cs typeface="AP Type Pro Text"/>
              </a:rPr>
              <a:t>	</a:t>
            </a:r>
            <a:r>
              <a:rPr lang="en-AU" sz="719" b="1" spc="-26">
                <a:solidFill>
                  <a:srgbClr val="FFFFFF"/>
                </a:solidFill>
                <a:latin typeface="AP Type Pro Text"/>
                <a:cs typeface="AP Type Pro Text"/>
              </a:rPr>
              <a:t>Gen</a:t>
            </a:r>
            <a:r>
              <a:rPr lang="en-AU" sz="719" b="1" spc="-41">
                <a:solidFill>
                  <a:srgbClr val="FFFFFF"/>
                </a:solidFill>
                <a:latin typeface="AP Type Pro Text"/>
                <a:cs typeface="AP Type Pro Text"/>
              </a:rPr>
              <a:t> </a:t>
            </a:r>
            <a:r>
              <a:rPr lang="en-AU" sz="719" b="1" spc="-51">
                <a:solidFill>
                  <a:srgbClr val="FFFFFF"/>
                </a:solidFill>
                <a:latin typeface="AP Type Pro Text"/>
                <a:cs typeface="AP Type Pro Text"/>
              </a:rPr>
              <a:t>Y</a:t>
            </a:r>
            <a:r>
              <a:rPr lang="en-AU" sz="719" b="1">
                <a:solidFill>
                  <a:srgbClr val="FFFFFF"/>
                </a:solidFill>
                <a:latin typeface="AP Type Pro Text"/>
                <a:cs typeface="AP Type Pro Text"/>
              </a:rPr>
              <a:t>	</a:t>
            </a:r>
            <a:r>
              <a:rPr lang="en-AU" sz="719" b="1" spc="-26">
                <a:solidFill>
                  <a:srgbClr val="FFFFFF"/>
                </a:solidFill>
                <a:latin typeface="AP Type Pro Text"/>
                <a:cs typeface="AP Type Pro Text"/>
              </a:rPr>
              <a:t>Gen</a:t>
            </a:r>
            <a:r>
              <a:rPr lang="en-AU" sz="719" b="1" spc="-31">
                <a:solidFill>
                  <a:srgbClr val="FFFFFF"/>
                </a:solidFill>
                <a:latin typeface="AP Type Pro Text"/>
                <a:cs typeface="AP Type Pro Text"/>
              </a:rPr>
              <a:t> </a:t>
            </a:r>
            <a:r>
              <a:rPr lang="en-AU" sz="719" b="1" spc="-51">
                <a:solidFill>
                  <a:srgbClr val="FFFFFF"/>
                </a:solidFill>
                <a:latin typeface="AP Type Pro Text"/>
                <a:cs typeface="AP Type Pro Text"/>
              </a:rPr>
              <a:t>X</a:t>
            </a:r>
            <a:r>
              <a:rPr lang="en-AU" sz="719" b="1">
                <a:solidFill>
                  <a:srgbClr val="FFFFFF"/>
                </a:solidFill>
                <a:latin typeface="AP Type Pro Text"/>
                <a:cs typeface="AP Type Pro Text"/>
              </a:rPr>
              <a:t>	</a:t>
            </a:r>
            <a:endParaRPr lang="en-AU" sz="719">
              <a:latin typeface="AP Type Pro Text"/>
              <a:cs typeface="AP Type Pro Text"/>
            </a:endParaRPr>
          </a:p>
        </p:txBody>
      </p:sp>
      <p:pic>
        <p:nvPicPr>
          <p:cNvPr id="98" name="Picture 97">
            <a:extLst>
              <a:ext uri="{FF2B5EF4-FFF2-40B4-BE49-F238E27FC236}">
                <a16:creationId xmlns:a16="http://schemas.microsoft.com/office/drawing/2014/main" id="{71E75F84-FCA7-9E25-6411-C70354969380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7805" t="12592" b="-1"/>
          <a:stretch/>
        </p:blipFill>
        <p:spPr>
          <a:xfrm>
            <a:off x="7910362" y="1184937"/>
            <a:ext cx="429121" cy="350800"/>
          </a:xfrm>
          <a:prstGeom prst="rect">
            <a:avLst/>
          </a:prstGeom>
        </p:spPr>
      </p:pic>
      <p:sp>
        <p:nvSpPr>
          <p:cNvPr id="99" name="object 5">
            <a:extLst>
              <a:ext uri="{FF2B5EF4-FFF2-40B4-BE49-F238E27FC236}">
                <a16:creationId xmlns:a16="http://schemas.microsoft.com/office/drawing/2014/main" id="{4BFEA0D3-D45A-5497-CBAC-E901CD404A4B}"/>
              </a:ext>
            </a:extLst>
          </p:cNvPr>
          <p:cNvSpPr txBox="1"/>
          <p:nvPr/>
        </p:nvSpPr>
        <p:spPr>
          <a:xfrm>
            <a:off x="7898080" y="1499874"/>
            <a:ext cx="443409" cy="138666"/>
          </a:xfrm>
          <a:prstGeom prst="rect">
            <a:avLst/>
          </a:prstGeom>
        </p:spPr>
        <p:txBody>
          <a:bodyPr vert="horz" wrap="square" lIns="0" tIns="52165" rIns="0" bIns="0" rtlCol="0">
            <a:spAutoFit/>
          </a:bodyPr>
          <a:lstStyle/>
          <a:p>
            <a:pPr marL="13042" marR="5217" algn="ctr">
              <a:lnSpc>
                <a:spcPct val="75000"/>
              </a:lnSpc>
              <a:spcBef>
                <a:spcPts val="411"/>
              </a:spcBef>
            </a:pPr>
            <a:r>
              <a:rPr lang="en-US" sz="719">
                <a:solidFill>
                  <a:schemeClr val="bg1"/>
                </a:solidFill>
                <a:latin typeface="AP Type Pro Text Medium"/>
                <a:cs typeface="AP Type Pro Text Medium"/>
              </a:rPr>
              <a:t>Fashion</a:t>
            </a:r>
          </a:p>
        </p:txBody>
      </p:sp>
      <p:pic>
        <p:nvPicPr>
          <p:cNvPr id="101" name="Picture 100">
            <a:extLst>
              <a:ext uri="{FF2B5EF4-FFF2-40B4-BE49-F238E27FC236}">
                <a16:creationId xmlns:a16="http://schemas.microsoft.com/office/drawing/2014/main" id="{4592FC44-D469-C8CF-F7DA-D752283A4185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49527"/>
          <a:stretch/>
        </p:blipFill>
        <p:spPr>
          <a:xfrm>
            <a:off x="8804916" y="1177979"/>
            <a:ext cx="350055" cy="319800"/>
          </a:xfrm>
          <a:prstGeom prst="rect">
            <a:avLst/>
          </a:prstGeom>
        </p:spPr>
      </p:pic>
      <p:sp>
        <p:nvSpPr>
          <p:cNvPr id="102" name="object 5">
            <a:extLst>
              <a:ext uri="{FF2B5EF4-FFF2-40B4-BE49-F238E27FC236}">
                <a16:creationId xmlns:a16="http://schemas.microsoft.com/office/drawing/2014/main" id="{AC5F6F27-2FA3-0649-9DC0-3739A2695261}"/>
              </a:ext>
            </a:extLst>
          </p:cNvPr>
          <p:cNvSpPr txBox="1"/>
          <p:nvPr/>
        </p:nvSpPr>
        <p:spPr>
          <a:xfrm>
            <a:off x="8678374" y="1499874"/>
            <a:ext cx="597527" cy="223933"/>
          </a:xfrm>
          <a:prstGeom prst="rect">
            <a:avLst/>
          </a:prstGeom>
        </p:spPr>
        <p:txBody>
          <a:bodyPr vert="horz" wrap="square" lIns="0" tIns="52165" rIns="0" bIns="0" rtlCol="0">
            <a:spAutoFit/>
          </a:bodyPr>
          <a:lstStyle/>
          <a:p>
            <a:pPr marL="13042" marR="5217" algn="ctr">
              <a:lnSpc>
                <a:spcPct val="75000"/>
              </a:lnSpc>
              <a:spcBef>
                <a:spcPts val="411"/>
              </a:spcBef>
            </a:pPr>
            <a:r>
              <a:rPr lang="en-US" sz="719">
                <a:solidFill>
                  <a:schemeClr val="bg1"/>
                </a:solidFill>
                <a:latin typeface="AP Type Pro Text Medium"/>
                <a:cs typeface="AP Type Pro Text Medium"/>
              </a:rPr>
              <a:t>Food &amp; Liquor</a:t>
            </a:r>
          </a:p>
        </p:txBody>
      </p:sp>
      <p:pic>
        <p:nvPicPr>
          <p:cNvPr id="104" name="Picture 103">
            <a:extLst>
              <a:ext uri="{FF2B5EF4-FFF2-40B4-BE49-F238E27FC236}">
                <a16:creationId xmlns:a16="http://schemas.microsoft.com/office/drawing/2014/main" id="{0C749A51-603F-CE59-8BE7-471E5ED8FE9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691205" y="1223141"/>
            <a:ext cx="306790" cy="297833"/>
          </a:xfrm>
          <a:prstGeom prst="rect">
            <a:avLst/>
          </a:prstGeom>
        </p:spPr>
      </p:pic>
      <p:sp>
        <p:nvSpPr>
          <p:cNvPr id="105" name="object 5">
            <a:extLst>
              <a:ext uri="{FF2B5EF4-FFF2-40B4-BE49-F238E27FC236}">
                <a16:creationId xmlns:a16="http://schemas.microsoft.com/office/drawing/2014/main" id="{971DCFE7-A09F-BFCE-87DB-1389747CD007}"/>
              </a:ext>
            </a:extLst>
          </p:cNvPr>
          <p:cNvSpPr txBox="1"/>
          <p:nvPr/>
        </p:nvSpPr>
        <p:spPr>
          <a:xfrm>
            <a:off x="9539407" y="1499874"/>
            <a:ext cx="597527" cy="223933"/>
          </a:xfrm>
          <a:prstGeom prst="rect">
            <a:avLst/>
          </a:prstGeom>
        </p:spPr>
        <p:txBody>
          <a:bodyPr vert="horz" wrap="square" lIns="0" tIns="52165" rIns="0" bIns="0" rtlCol="0">
            <a:spAutoFit/>
          </a:bodyPr>
          <a:lstStyle/>
          <a:p>
            <a:pPr marL="13042" marR="5217" algn="ctr">
              <a:lnSpc>
                <a:spcPct val="75000"/>
              </a:lnSpc>
              <a:spcBef>
                <a:spcPts val="411"/>
              </a:spcBef>
            </a:pPr>
            <a:r>
              <a:rPr lang="en-US" sz="719">
                <a:solidFill>
                  <a:schemeClr val="bg1"/>
                </a:solidFill>
                <a:latin typeface="AP Type Pro Text Medium"/>
                <a:cs typeface="AP Type Pro Text Medium"/>
              </a:rPr>
              <a:t>Home &amp; Garden</a:t>
            </a:r>
          </a:p>
        </p:txBody>
      </p:sp>
      <p:sp>
        <p:nvSpPr>
          <p:cNvPr id="106" name="object 5">
            <a:extLst>
              <a:ext uri="{FF2B5EF4-FFF2-40B4-BE49-F238E27FC236}">
                <a16:creationId xmlns:a16="http://schemas.microsoft.com/office/drawing/2014/main" id="{0D3C57D9-A629-CF1F-1314-CEFE1A687B55}"/>
              </a:ext>
            </a:extLst>
          </p:cNvPr>
          <p:cNvSpPr txBox="1"/>
          <p:nvPr/>
        </p:nvSpPr>
        <p:spPr>
          <a:xfrm>
            <a:off x="10400091" y="1499874"/>
            <a:ext cx="597527" cy="223933"/>
          </a:xfrm>
          <a:prstGeom prst="rect">
            <a:avLst/>
          </a:prstGeom>
        </p:spPr>
        <p:txBody>
          <a:bodyPr vert="horz" wrap="square" lIns="0" tIns="52165" rIns="0" bIns="0" rtlCol="0">
            <a:spAutoFit/>
          </a:bodyPr>
          <a:lstStyle/>
          <a:p>
            <a:pPr marL="13042" marR="5217" algn="ctr">
              <a:lnSpc>
                <a:spcPct val="75000"/>
              </a:lnSpc>
              <a:spcBef>
                <a:spcPts val="411"/>
              </a:spcBef>
            </a:pPr>
            <a:r>
              <a:rPr lang="en-US" sz="719">
                <a:solidFill>
                  <a:schemeClr val="bg1"/>
                </a:solidFill>
                <a:latin typeface="AP Type Pro Text Medium"/>
                <a:cs typeface="AP Type Pro Text Medium"/>
              </a:rPr>
              <a:t>Home &amp; Garden</a:t>
            </a:r>
          </a:p>
        </p:txBody>
      </p:sp>
      <p:pic>
        <p:nvPicPr>
          <p:cNvPr id="108" name="Picture 107">
            <a:extLst>
              <a:ext uri="{FF2B5EF4-FFF2-40B4-BE49-F238E27FC236}">
                <a16:creationId xmlns:a16="http://schemas.microsoft.com/office/drawing/2014/main" id="{FDD94DFF-DF20-C90B-D384-C4F277D0731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551609" y="1228252"/>
            <a:ext cx="300358" cy="290420"/>
          </a:xfrm>
          <a:prstGeom prst="rect">
            <a:avLst/>
          </a:prstGeom>
        </p:spPr>
      </p:pic>
      <p:sp>
        <p:nvSpPr>
          <p:cNvPr id="111" name="object 3">
            <a:extLst>
              <a:ext uri="{FF2B5EF4-FFF2-40B4-BE49-F238E27FC236}">
                <a16:creationId xmlns:a16="http://schemas.microsoft.com/office/drawing/2014/main" id="{B5701459-74D7-457B-FA0D-BA5DC36146C6}"/>
              </a:ext>
            </a:extLst>
          </p:cNvPr>
          <p:cNvSpPr/>
          <p:nvPr/>
        </p:nvSpPr>
        <p:spPr>
          <a:xfrm>
            <a:off x="671932" y="557163"/>
            <a:ext cx="48158" cy="5767437"/>
          </a:xfrm>
          <a:custGeom>
            <a:avLst/>
            <a:gdLst/>
            <a:ahLst/>
            <a:cxnLst/>
            <a:rect l="l" t="t" r="r" b="b"/>
            <a:pathLst>
              <a:path h="6264275">
                <a:moveTo>
                  <a:pt x="0" y="0"/>
                </a:moveTo>
                <a:lnTo>
                  <a:pt x="0" y="6263995"/>
                </a:lnTo>
              </a:path>
            </a:pathLst>
          </a:custGeom>
          <a:ln w="12700">
            <a:solidFill>
              <a:srgbClr val="007C8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3" name="object 2">
            <a:extLst>
              <a:ext uri="{FF2B5EF4-FFF2-40B4-BE49-F238E27FC236}">
                <a16:creationId xmlns:a16="http://schemas.microsoft.com/office/drawing/2014/main" id="{C32CDB07-4F6A-6739-84DE-CE5C1AD9A87D}"/>
              </a:ext>
            </a:extLst>
          </p:cNvPr>
          <p:cNvSpPr txBox="1">
            <a:spLocks/>
          </p:cNvSpPr>
          <p:nvPr/>
        </p:nvSpPr>
        <p:spPr>
          <a:xfrm>
            <a:off x="809483" y="694535"/>
            <a:ext cx="7079650" cy="1694211"/>
          </a:xfrm>
          <a:prstGeom prst="rect">
            <a:avLst/>
          </a:prstGeom>
        </p:spPr>
        <p:txBody>
          <a:bodyPr vert="horz" wrap="square" lIns="0" tIns="15650" rIns="0" bIns="0" rtlCol="0" anchor="t">
            <a:spAutoFit/>
          </a:bodyPr>
          <a:lstStyle>
            <a:defPPr>
              <a:defRPr kern="0"/>
            </a:defPPr>
            <a:lvl1pPr marL="13042">
              <a:defRPr sz="3697" b="0" i="0" spc="-26">
                <a:solidFill>
                  <a:srgbClr val="000000"/>
                </a:solidFill>
                <a:latin typeface="AP Type Pro Text Medium"/>
                <a:ea typeface="+mj-ea"/>
                <a:cs typeface="AP Type Pro Text Medium"/>
              </a:defRPr>
            </a:lvl1pPr>
          </a:lstStyle>
          <a:p>
            <a:r>
              <a:rPr lang="en-AU"/>
              <a:t>How the generations like to shop online</a:t>
            </a:r>
          </a:p>
        </p:txBody>
      </p:sp>
      <p:sp>
        <p:nvSpPr>
          <p:cNvPr id="114" name="object 3">
            <a:extLst>
              <a:ext uri="{FF2B5EF4-FFF2-40B4-BE49-F238E27FC236}">
                <a16:creationId xmlns:a16="http://schemas.microsoft.com/office/drawing/2014/main" id="{0E748F70-5035-58AC-5F04-68A0382624CF}"/>
              </a:ext>
            </a:extLst>
          </p:cNvPr>
          <p:cNvSpPr txBox="1"/>
          <p:nvPr/>
        </p:nvSpPr>
        <p:spPr>
          <a:xfrm>
            <a:off x="843728" y="503014"/>
            <a:ext cx="2415037" cy="202772"/>
          </a:xfrm>
          <a:prstGeom prst="rect">
            <a:avLst/>
          </a:prstGeom>
        </p:spPr>
        <p:txBody>
          <a:bodyPr vert="horz" wrap="square" lIns="0" tIns="13041" rIns="0" bIns="0" rtlCol="0">
            <a:spAutoFit/>
          </a:bodyPr>
          <a:lstStyle/>
          <a:p>
            <a:pPr marL="13042">
              <a:spcBef>
                <a:spcPts val="103"/>
              </a:spcBef>
            </a:pPr>
            <a:r>
              <a:rPr lang="en-US" sz="1232">
                <a:latin typeface="AP Type Pro Text Medium"/>
                <a:cs typeface="AP Type Pro Text Medium"/>
              </a:rPr>
              <a:t>Across the Generations</a:t>
            </a:r>
            <a:endParaRPr sz="1232">
              <a:latin typeface="AP Type Pro Text Medium"/>
              <a:cs typeface="AP Type Pro Text Medium"/>
            </a:endParaRPr>
          </a:p>
        </p:txBody>
      </p:sp>
      <p:sp>
        <p:nvSpPr>
          <p:cNvPr id="138" name="object 19">
            <a:extLst>
              <a:ext uri="{FF2B5EF4-FFF2-40B4-BE49-F238E27FC236}">
                <a16:creationId xmlns:a16="http://schemas.microsoft.com/office/drawing/2014/main" id="{67881180-0CC5-9D90-32BF-1967B7D2B521}"/>
              </a:ext>
            </a:extLst>
          </p:cNvPr>
          <p:cNvSpPr/>
          <p:nvPr/>
        </p:nvSpPr>
        <p:spPr>
          <a:xfrm>
            <a:off x="7023640" y="2254977"/>
            <a:ext cx="1095466" cy="402179"/>
          </a:xfrm>
          <a:custGeom>
            <a:avLst/>
            <a:gdLst/>
            <a:ahLst/>
            <a:cxnLst/>
            <a:rect l="l" t="t" r="r" b="b"/>
            <a:pathLst>
              <a:path w="792479" h="384175">
                <a:moveTo>
                  <a:pt x="756005" y="0"/>
                </a:moveTo>
                <a:lnTo>
                  <a:pt x="36004" y="0"/>
                </a:lnTo>
                <a:lnTo>
                  <a:pt x="21988" y="2828"/>
                </a:lnTo>
                <a:lnTo>
                  <a:pt x="10544" y="10542"/>
                </a:lnTo>
                <a:lnTo>
                  <a:pt x="2828" y="21983"/>
                </a:lnTo>
                <a:lnTo>
                  <a:pt x="0" y="35991"/>
                </a:lnTo>
                <a:lnTo>
                  <a:pt x="0" y="347700"/>
                </a:lnTo>
                <a:lnTo>
                  <a:pt x="2828" y="361716"/>
                </a:lnTo>
                <a:lnTo>
                  <a:pt x="10544" y="373160"/>
                </a:lnTo>
                <a:lnTo>
                  <a:pt x="21988" y="380876"/>
                </a:lnTo>
                <a:lnTo>
                  <a:pt x="36004" y="383705"/>
                </a:lnTo>
                <a:lnTo>
                  <a:pt x="756005" y="383705"/>
                </a:lnTo>
                <a:lnTo>
                  <a:pt x="770016" y="380876"/>
                </a:lnTo>
                <a:lnTo>
                  <a:pt x="781461" y="373160"/>
                </a:lnTo>
                <a:lnTo>
                  <a:pt x="789179" y="361716"/>
                </a:lnTo>
                <a:lnTo>
                  <a:pt x="792010" y="347700"/>
                </a:lnTo>
                <a:lnTo>
                  <a:pt x="792010" y="35991"/>
                </a:lnTo>
                <a:lnTo>
                  <a:pt x="789179" y="21983"/>
                </a:lnTo>
                <a:lnTo>
                  <a:pt x="781461" y="10542"/>
                </a:lnTo>
                <a:lnTo>
                  <a:pt x="770016" y="2828"/>
                </a:lnTo>
                <a:lnTo>
                  <a:pt x="756005" y="0"/>
                </a:lnTo>
                <a:close/>
              </a:path>
            </a:pathLst>
          </a:custGeom>
          <a:solidFill>
            <a:srgbClr val="F283B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9" name="object 20">
            <a:extLst>
              <a:ext uri="{FF2B5EF4-FFF2-40B4-BE49-F238E27FC236}">
                <a16:creationId xmlns:a16="http://schemas.microsoft.com/office/drawing/2014/main" id="{7A1F8260-CC1F-85E3-9837-DFDE1682B76F}"/>
              </a:ext>
            </a:extLst>
          </p:cNvPr>
          <p:cNvSpPr txBox="1"/>
          <p:nvPr/>
        </p:nvSpPr>
        <p:spPr>
          <a:xfrm>
            <a:off x="7172351" y="2334385"/>
            <a:ext cx="856068" cy="338433"/>
          </a:xfrm>
          <a:prstGeom prst="rect">
            <a:avLst/>
          </a:prstGeom>
        </p:spPr>
        <p:txBody>
          <a:bodyPr vert="horz" wrap="square" lIns="0" tIns="13693" rIns="0" bIns="0" rtlCol="0">
            <a:spAutoFit/>
          </a:bodyPr>
          <a:lstStyle/>
          <a:p>
            <a:pPr marL="13042">
              <a:spcBef>
                <a:spcPts val="108"/>
              </a:spcBef>
            </a:pPr>
            <a:r>
              <a:rPr lang="en-US" sz="1027" spc="-10">
                <a:solidFill>
                  <a:srgbClr val="FFFFFF"/>
                </a:solidFill>
                <a:latin typeface="AP Type Pro Text Medium"/>
                <a:cs typeface="AP Type Pro Text Medium"/>
              </a:rPr>
              <a:t>Value shoppers</a:t>
            </a:r>
            <a:endParaRPr lang="en-US" sz="1027">
              <a:latin typeface="AP Type Pro Text Medium"/>
              <a:cs typeface="AP Type Pro Text Medium"/>
            </a:endParaRPr>
          </a:p>
        </p:txBody>
      </p:sp>
      <p:sp>
        <p:nvSpPr>
          <p:cNvPr id="140" name="object 21">
            <a:extLst>
              <a:ext uri="{FF2B5EF4-FFF2-40B4-BE49-F238E27FC236}">
                <a16:creationId xmlns:a16="http://schemas.microsoft.com/office/drawing/2014/main" id="{05341624-AEDE-F69B-4A86-3430E32AD6DA}"/>
              </a:ext>
            </a:extLst>
          </p:cNvPr>
          <p:cNvSpPr/>
          <p:nvPr/>
        </p:nvSpPr>
        <p:spPr>
          <a:xfrm>
            <a:off x="7015955" y="2107425"/>
            <a:ext cx="2079407" cy="241263"/>
          </a:xfrm>
          <a:custGeom>
            <a:avLst/>
            <a:gdLst/>
            <a:ahLst/>
            <a:cxnLst/>
            <a:rect l="l" t="t" r="r" b="b"/>
            <a:pathLst>
              <a:path w="2315845" h="234950">
                <a:moveTo>
                  <a:pt x="2279649" y="0"/>
                </a:moveTo>
                <a:lnTo>
                  <a:pt x="36004" y="0"/>
                </a:lnTo>
                <a:lnTo>
                  <a:pt x="21988" y="2828"/>
                </a:lnTo>
                <a:lnTo>
                  <a:pt x="10544" y="10542"/>
                </a:lnTo>
                <a:lnTo>
                  <a:pt x="2828" y="21983"/>
                </a:lnTo>
                <a:lnTo>
                  <a:pt x="0" y="35991"/>
                </a:lnTo>
                <a:lnTo>
                  <a:pt x="0" y="198716"/>
                </a:lnTo>
                <a:lnTo>
                  <a:pt x="2828" y="212732"/>
                </a:lnTo>
                <a:lnTo>
                  <a:pt x="10544" y="224177"/>
                </a:lnTo>
                <a:lnTo>
                  <a:pt x="21988" y="231892"/>
                </a:lnTo>
                <a:lnTo>
                  <a:pt x="36004" y="234721"/>
                </a:lnTo>
                <a:lnTo>
                  <a:pt x="2279649" y="234721"/>
                </a:lnTo>
                <a:lnTo>
                  <a:pt x="2293666" y="231892"/>
                </a:lnTo>
                <a:lnTo>
                  <a:pt x="2305110" y="224177"/>
                </a:lnTo>
                <a:lnTo>
                  <a:pt x="2312825" y="212732"/>
                </a:lnTo>
                <a:lnTo>
                  <a:pt x="2315654" y="198716"/>
                </a:lnTo>
                <a:lnTo>
                  <a:pt x="2315654" y="35991"/>
                </a:lnTo>
                <a:lnTo>
                  <a:pt x="2312825" y="21983"/>
                </a:lnTo>
                <a:lnTo>
                  <a:pt x="2305110" y="10542"/>
                </a:lnTo>
                <a:lnTo>
                  <a:pt x="2293666" y="2828"/>
                </a:lnTo>
                <a:lnTo>
                  <a:pt x="2279649" y="0"/>
                </a:lnTo>
                <a:close/>
              </a:path>
            </a:pathLst>
          </a:custGeom>
          <a:solidFill>
            <a:srgbClr val="E5087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1" name="object 22">
            <a:extLst>
              <a:ext uri="{FF2B5EF4-FFF2-40B4-BE49-F238E27FC236}">
                <a16:creationId xmlns:a16="http://schemas.microsoft.com/office/drawing/2014/main" id="{30E65577-D6DE-67A3-C9F5-DFA1BD3C6A4D}"/>
              </a:ext>
            </a:extLst>
          </p:cNvPr>
          <p:cNvSpPr txBox="1"/>
          <p:nvPr/>
        </p:nvSpPr>
        <p:spPr>
          <a:xfrm>
            <a:off x="7172349" y="2132526"/>
            <a:ext cx="852246" cy="176131"/>
          </a:xfrm>
          <a:prstGeom prst="rect">
            <a:avLst/>
          </a:prstGeom>
        </p:spPr>
        <p:txBody>
          <a:bodyPr vert="horz" wrap="square" lIns="0" tIns="13693" rIns="0" bIns="0" rtlCol="0">
            <a:spAutoFit/>
          </a:bodyPr>
          <a:lstStyle/>
          <a:p>
            <a:pPr marL="13042">
              <a:spcBef>
                <a:spcPts val="108"/>
              </a:spcBef>
            </a:pPr>
            <a:r>
              <a:rPr lang="en-AU" sz="1027">
                <a:solidFill>
                  <a:srgbClr val="FFFFFF"/>
                </a:solidFill>
                <a:latin typeface="AP Type Pro Text Medium"/>
                <a:cs typeface="AP Type Pro Text Medium"/>
              </a:rPr>
              <a:t>Gen</a:t>
            </a:r>
            <a:r>
              <a:rPr lang="en-AU" sz="1027" spc="-10">
                <a:solidFill>
                  <a:srgbClr val="FFFFFF"/>
                </a:solidFill>
                <a:latin typeface="AP Type Pro Text Medium"/>
                <a:cs typeface="AP Type Pro Text Medium"/>
              </a:rPr>
              <a:t> </a:t>
            </a:r>
            <a:r>
              <a:rPr lang="en-AU" sz="1027">
                <a:solidFill>
                  <a:srgbClr val="FFFFFF"/>
                </a:solidFill>
                <a:latin typeface="AP Type Pro Text Medium"/>
                <a:cs typeface="AP Type Pro Text Medium"/>
              </a:rPr>
              <a:t>X</a:t>
            </a:r>
            <a:r>
              <a:rPr lang="en-AU" sz="1027" spc="-5">
                <a:solidFill>
                  <a:srgbClr val="FFFFFF"/>
                </a:solidFill>
                <a:latin typeface="AP Type Pro Text Medium"/>
                <a:cs typeface="AP Type Pro Text Medium"/>
              </a:rPr>
              <a:t> </a:t>
            </a:r>
            <a:r>
              <a:rPr lang="en-AU" sz="1027" spc="-36">
                <a:solidFill>
                  <a:srgbClr val="FFFFFF"/>
                </a:solidFill>
                <a:latin typeface="AP Type Pro Text Medium"/>
                <a:cs typeface="AP Type Pro Text Medium"/>
              </a:rPr>
              <a:t>(47-</a:t>
            </a:r>
            <a:r>
              <a:rPr lang="en-AU" sz="1027" spc="-26">
                <a:solidFill>
                  <a:srgbClr val="FFFFFF"/>
                </a:solidFill>
                <a:latin typeface="AP Type Pro Text Medium"/>
                <a:cs typeface="AP Type Pro Text Medium"/>
              </a:rPr>
              <a:t>59)</a:t>
            </a:r>
            <a:endParaRPr lang="en-AU" sz="1027">
              <a:latin typeface="AP Type Pro Text Medium"/>
              <a:cs typeface="AP Type Pro Text Medium"/>
            </a:endParaRPr>
          </a:p>
        </p:txBody>
      </p:sp>
      <p:sp>
        <p:nvSpPr>
          <p:cNvPr id="142" name="object 14">
            <a:extLst>
              <a:ext uri="{FF2B5EF4-FFF2-40B4-BE49-F238E27FC236}">
                <a16:creationId xmlns:a16="http://schemas.microsoft.com/office/drawing/2014/main" id="{A24535C3-DC83-ABEE-74D9-144CF3DEB5F3}"/>
              </a:ext>
            </a:extLst>
          </p:cNvPr>
          <p:cNvSpPr/>
          <p:nvPr/>
        </p:nvSpPr>
        <p:spPr>
          <a:xfrm>
            <a:off x="2452107" y="2177891"/>
            <a:ext cx="1249400" cy="497682"/>
          </a:xfrm>
          <a:custGeom>
            <a:avLst/>
            <a:gdLst/>
            <a:ahLst/>
            <a:cxnLst/>
            <a:rect l="l" t="t" r="r" b="b"/>
            <a:pathLst>
              <a:path w="792480" h="384175">
                <a:moveTo>
                  <a:pt x="756005" y="0"/>
                </a:moveTo>
                <a:lnTo>
                  <a:pt x="36004" y="0"/>
                </a:lnTo>
                <a:lnTo>
                  <a:pt x="21988" y="2828"/>
                </a:lnTo>
                <a:lnTo>
                  <a:pt x="10544" y="10542"/>
                </a:lnTo>
                <a:lnTo>
                  <a:pt x="2828" y="21983"/>
                </a:lnTo>
                <a:lnTo>
                  <a:pt x="0" y="35991"/>
                </a:lnTo>
                <a:lnTo>
                  <a:pt x="0" y="347700"/>
                </a:lnTo>
                <a:lnTo>
                  <a:pt x="2828" y="361716"/>
                </a:lnTo>
                <a:lnTo>
                  <a:pt x="10544" y="373160"/>
                </a:lnTo>
                <a:lnTo>
                  <a:pt x="21988" y="380876"/>
                </a:lnTo>
                <a:lnTo>
                  <a:pt x="36004" y="383705"/>
                </a:lnTo>
                <a:lnTo>
                  <a:pt x="756005" y="383705"/>
                </a:lnTo>
                <a:lnTo>
                  <a:pt x="770016" y="380876"/>
                </a:lnTo>
                <a:lnTo>
                  <a:pt x="781461" y="373160"/>
                </a:lnTo>
                <a:lnTo>
                  <a:pt x="789179" y="361716"/>
                </a:lnTo>
                <a:lnTo>
                  <a:pt x="792010" y="347700"/>
                </a:lnTo>
                <a:lnTo>
                  <a:pt x="792010" y="35991"/>
                </a:lnTo>
                <a:lnTo>
                  <a:pt x="789179" y="21983"/>
                </a:lnTo>
                <a:lnTo>
                  <a:pt x="781461" y="10542"/>
                </a:lnTo>
                <a:lnTo>
                  <a:pt x="770016" y="2828"/>
                </a:lnTo>
                <a:lnTo>
                  <a:pt x="756005" y="0"/>
                </a:lnTo>
                <a:close/>
              </a:path>
            </a:pathLst>
          </a:custGeom>
          <a:solidFill>
            <a:srgbClr val="ED8C9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3" name="object 15">
            <a:extLst>
              <a:ext uri="{FF2B5EF4-FFF2-40B4-BE49-F238E27FC236}">
                <a16:creationId xmlns:a16="http://schemas.microsoft.com/office/drawing/2014/main" id="{3ABF60FC-6146-B400-9E05-877FB89AEA70}"/>
              </a:ext>
            </a:extLst>
          </p:cNvPr>
          <p:cNvSpPr txBox="1"/>
          <p:nvPr/>
        </p:nvSpPr>
        <p:spPr>
          <a:xfrm>
            <a:off x="2606040" y="2334385"/>
            <a:ext cx="1173714" cy="338433"/>
          </a:xfrm>
          <a:prstGeom prst="rect">
            <a:avLst/>
          </a:prstGeom>
        </p:spPr>
        <p:txBody>
          <a:bodyPr vert="horz" wrap="square" lIns="0" tIns="13693" rIns="0" bIns="0" rtlCol="0">
            <a:spAutoFit/>
          </a:bodyPr>
          <a:lstStyle/>
          <a:p>
            <a:pPr marL="13042">
              <a:spcBef>
                <a:spcPts val="108"/>
              </a:spcBef>
            </a:pPr>
            <a:r>
              <a:rPr lang="en-US" sz="1027" spc="-10">
                <a:solidFill>
                  <a:srgbClr val="FFFFFF"/>
                </a:solidFill>
                <a:latin typeface="AP Type Pro Text Medium"/>
                <a:cs typeface="AP Type Pro Text Medium"/>
              </a:rPr>
              <a:t>Sustainability conscious </a:t>
            </a:r>
            <a:endParaRPr lang="en-US" sz="1027">
              <a:latin typeface="AP Type Pro Text Medium"/>
              <a:cs typeface="AP Type Pro Text Medium"/>
            </a:endParaRPr>
          </a:p>
        </p:txBody>
      </p:sp>
      <p:sp>
        <p:nvSpPr>
          <p:cNvPr id="144" name="object 16">
            <a:extLst>
              <a:ext uri="{FF2B5EF4-FFF2-40B4-BE49-F238E27FC236}">
                <a16:creationId xmlns:a16="http://schemas.microsoft.com/office/drawing/2014/main" id="{0230B3B4-BE80-EBC9-C6AA-119F45587F22}"/>
              </a:ext>
            </a:extLst>
          </p:cNvPr>
          <p:cNvSpPr/>
          <p:nvPr/>
        </p:nvSpPr>
        <p:spPr>
          <a:xfrm>
            <a:off x="2452106" y="2107425"/>
            <a:ext cx="2071256" cy="241263"/>
          </a:xfrm>
          <a:custGeom>
            <a:avLst/>
            <a:gdLst/>
            <a:ahLst/>
            <a:cxnLst/>
            <a:rect l="l" t="t" r="r" b="b"/>
            <a:pathLst>
              <a:path w="2315845" h="234950">
                <a:moveTo>
                  <a:pt x="2279650" y="0"/>
                </a:moveTo>
                <a:lnTo>
                  <a:pt x="36004" y="0"/>
                </a:lnTo>
                <a:lnTo>
                  <a:pt x="21988" y="2828"/>
                </a:lnTo>
                <a:lnTo>
                  <a:pt x="10544" y="10542"/>
                </a:lnTo>
                <a:lnTo>
                  <a:pt x="2828" y="21983"/>
                </a:lnTo>
                <a:lnTo>
                  <a:pt x="0" y="35991"/>
                </a:lnTo>
                <a:lnTo>
                  <a:pt x="0" y="198716"/>
                </a:lnTo>
                <a:lnTo>
                  <a:pt x="2828" y="212732"/>
                </a:lnTo>
                <a:lnTo>
                  <a:pt x="10544" y="224177"/>
                </a:lnTo>
                <a:lnTo>
                  <a:pt x="21988" y="231892"/>
                </a:lnTo>
                <a:lnTo>
                  <a:pt x="36004" y="234721"/>
                </a:lnTo>
                <a:lnTo>
                  <a:pt x="2279650" y="234721"/>
                </a:lnTo>
                <a:lnTo>
                  <a:pt x="2293666" y="231892"/>
                </a:lnTo>
                <a:lnTo>
                  <a:pt x="2305110" y="224177"/>
                </a:lnTo>
                <a:lnTo>
                  <a:pt x="2312825" y="212732"/>
                </a:lnTo>
                <a:lnTo>
                  <a:pt x="2315654" y="198716"/>
                </a:lnTo>
                <a:lnTo>
                  <a:pt x="2315654" y="35991"/>
                </a:lnTo>
                <a:lnTo>
                  <a:pt x="2312825" y="21983"/>
                </a:lnTo>
                <a:lnTo>
                  <a:pt x="2305110" y="10542"/>
                </a:lnTo>
                <a:lnTo>
                  <a:pt x="2293666" y="2828"/>
                </a:lnTo>
                <a:lnTo>
                  <a:pt x="2279650" y="0"/>
                </a:lnTo>
                <a:close/>
              </a:path>
            </a:pathLst>
          </a:custGeom>
          <a:solidFill>
            <a:srgbClr val="DC192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5" name="object 25">
            <a:extLst>
              <a:ext uri="{FF2B5EF4-FFF2-40B4-BE49-F238E27FC236}">
                <a16:creationId xmlns:a16="http://schemas.microsoft.com/office/drawing/2014/main" id="{16820BAF-7020-1AC3-3A63-93C8990F7540}"/>
              </a:ext>
            </a:extLst>
          </p:cNvPr>
          <p:cNvSpPr txBox="1"/>
          <p:nvPr/>
        </p:nvSpPr>
        <p:spPr>
          <a:xfrm>
            <a:off x="4867581" y="2334385"/>
            <a:ext cx="821431" cy="338433"/>
          </a:xfrm>
          <a:prstGeom prst="rect">
            <a:avLst/>
          </a:prstGeom>
        </p:spPr>
        <p:txBody>
          <a:bodyPr vert="horz" wrap="square" lIns="0" tIns="13693" rIns="0" bIns="0" rtlCol="0">
            <a:spAutoFit/>
          </a:bodyPr>
          <a:lstStyle/>
          <a:p>
            <a:pPr marL="13042">
              <a:spcBef>
                <a:spcPts val="108"/>
              </a:spcBef>
            </a:pPr>
            <a:r>
              <a:rPr lang="en-US" sz="1027" spc="-10">
                <a:solidFill>
                  <a:srgbClr val="FFFFFF"/>
                </a:solidFill>
                <a:latin typeface="AP Type Pro Text Medium"/>
                <a:cs typeface="AP Type Pro Text Medium"/>
              </a:rPr>
              <a:t>The Impatient </a:t>
            </a:r>
            <a:endParaRPr lang="en-US" sz="1027">
              <a:latin typeface="AP Type Pro Text Medium"/>
              <a:cs typeface="AP Type Pro Text Medium"/>
            </a:endParaRPr>
          </a:p>
        </p:txBody>
      </p:sp>
      <p:sp>
        <p:nvSpPr>
          <p:cNvPr id="146" name="object 26">
            <a:extLst>
              <a:ext uri="{FF2B5EF4-FFF2-40B4-BE49-F238E27FC236}">
                <a16:creationId xmlns:a16="http://schemas.microsoft.com/office/drawing/2014/main" id="{4F8F15C0-42B7-E8D8-5E67-EE10243AA2F1}"/>
              </a:ext>
            </a:extLst>
          </p:cNvPr>
          <p:cNvSpPr/>
          <p:nvPr/>
        </p:nvSpPr>
        <p:spPr>
          <a:xfrm>
            <a:off x="4730404" y="2107425"/>
            <a:ext cx="2071942" cy="241263"/>
          </a:xfrm>
          <a:custGeom>
            <a:avLst/>
            <a:gdLst/>
            <a:ahLst/>
            <a:cxnLst/>
            <a:rect l="l" t="t" r="r" b="b"/>
            <a:pathLst>
              <a:path w="2315845" h="234950">
                <a:moveTo>
                  <a:pt x="2279649" y="0"/>
                </a:moveTo>
                <a:lnTo>
                  <a:pt x="36004" y="0"/>
                </a:lnTo>
                <a:lnTo>
                  <a:pt x="21988" y="2828"/>
                </a:lnTo>
                <a:lnTo>
                  <a:pt x="10544" y="10542"/>
                </a:lnTo>
                <a:lnTo>
                  <a:pt x="2828" y="21983"/>
                </a:lnTo>
                <a:lnTo>
                  <a:pt x="0" y="35991"/>
                </a:lnTo>
                <a:lnTo>
                  <a:pt x="0" y="198716"/>
                </a:lnTo>
                <a:lnTo>
                  <a:pt x="2828" y="212732"/>
                </a:lnTo>
                <a:lnTo>
                  <a:pt x="10544" y="224177"/>
                </a:lnTo>
                <a:lnTo>
                  <a:pt x="21988" y="231892"/>
                </a:lnTo>
                <a:lnTo>
                  <a:pt x="36004" y="234721"/>
                </a:lnTo>
                <a:lnTo>
                  <a:pt x="2279649" y="234721"/>
                </a:lnTo>
                <a:lnTo>
                  <a:pt x="2293666" y="231892"/>
                </a:lnTo>
                <a:lnTo>
                  <a:pt x="2305110" y="224177"/>
                </a:lnTo>
                <a:lnTo>
                  <a:pt x="2312825" y="212732"/>
                </a:lnTo>
                <a:lnTo>
                  <a:pt x="2315654" y="198716"/>
                </a:lnTo>
                <a:lnTo>
                  <a:pt x="2315654" y="35991"/>
                </a:lnTo>
                <a:lnTo>
                  <a:pt x="2312825" y="21983"/>
                </a:lnTo>
                <a:lnTo>
                  <a:pt x="2305110" y="10542"/>
                </a:lnTo>
                <a:lnTo>
                  <a:pt x="2293666" y="2828"/>
                </a:lnTo>
                <a:lnTo>
                  <a:pt x="2279649" y="0"/>
                </a:lnTo>
                <a:close/>
              </a:path>
            </a:pathLst>
          </a:custGeom>
          <a:solidFill>
            <a:srgbClr val="007D8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7" name="object 27">
            <a:extLst>
              <a:ext uri="{FF2B5EF4-FFF2-40B4-BE49-F238E27FC236}">
                <a16:creationId xmlns:a16="http://schemas.microsoft.com/office/drawing/2014/main" id="{20494304-4BD7-CD11-078C-AD71309CE490}"/>
              </a:ext>
            </a:extLst>
          </p:cNvPr>
          <p:cNvSpPr txBox="1"/>
          <p:nvPr/>
        </p:nvSpPr>
        <p:spPr>
          <a:xfrm>
            <a:off x="4867581" y="2132526"/>
            <a:ext cx="853551" cy="176131"/>
          </a:xfrm>
          <a:prstGeom prst="rect">
            <a:avLst/>
          </a:prstGeom>
        </p:spPr>
        <p:txBody>
          <a:bodyPr vert="horz" wrap="square" lIns="0" tIns="13693" rIns="0" bIns="0" rtlCol="0">
            <a:spAutoFit/>
          </a:bodyPr>
          <a:lstStyle/>
          <a:p>
            <a:pPr marL="13042">
              <a:spcBef>
                <a:spcPts val="108"/>
              </a:spcBef>
            </a:pPr>
            <a:r>
              <a:rPr lang="en-AU" sz="1027">
                <a:solidFill>
                  <a:srgbClr val="FFFFFF"/>
                </a:solidFill>
                <a:latin typeface="AP Type Pro Text Medium"/>
                <a:cs typeface="AP Type Pro Text Medium"/>
              </a:rPr>
              <a:t>Gen</a:t>
            </a:r>
            <a:r>
              <a:rPr lang="en-AU" sz="1027" spc="-26">
                <a:solidFill>
                  <a:srgbClr val="FFFFFF"/>
                </a:solidFill>
                <a:latin typeface="AP Type Pro Text Medium"/>
                <a:cs typeface="AP Type Pro Text Medium"/>
              </a:rPr>
              <a:t> </a:t>
            </a:r>
            <a:r>
              <a:rPr lang="en-AU" sz="1027">
                <a:solidFill>
                  <a:srgbClr val="FFFFFF"/>
                </a:solidFill>
                <a:latin typeface="AP Type Pro Text Medium"/>
                <a:cs typeface="AP Type Pro Text Medium"/>
              </a:rPr>
              <a:t>Y</a:t>
            </a:r>
            <a:r>
              <a:rPr lang="en-AU" sz="1027" spc="-21">
                <a:solidFill>
                  <a:srgbClr val="FFFFFF"/>
                </a:solidFill>
                <a:latin typeface="AP Type Pro Text Medium"/>
                <a:cs typeface="AP Type Pro Text Medium"/>
              </a:rPr>
              <a:t> (27-</a:t>
            </a:r>
            <a:r>
              <a:rPr lang="en-AU" sz="1027" spc="-26">
                <a:solidFill>
                  <a:srgbClr val="FFFFFF"/>
                </a:solidFill>
                <a:latin typeface="AP Type Pro Text Medium"/>
                <a:cs typeface="AP Type Pro Text Medium"/>
              </a:rPr>
              <a:t>43)</a:t>
            </a:r>
            <a:endParaRPr lang="en-AU" sz="1027">
              <a:latin typeface="AP Type Pro Text Medium"/>
              <a:cs typeface="AP Type Pro Text Medium"/>
            </a:endParaRPr>
          </a:p>
        </p:txBody>
      </p:sp>
      <p:sp>
        <p:nvSpPr>
          <p:cNvPr id="148" name="object 30">
            <a:extLst>
              <a:ext uri="{FF2B5EF4-FFF2-40B4-BE49-F238E27FC236}">
                <a16:creationId xmlns:a16="http://schemas.microsoft.com/office/drawing/2014/main" id="{166C57C6-4E4D-1A7E-A7A0-8053642828F7}"/>
              </a:ext>
            </a:extLst>
          </p:cNvPr>
          <p:cNvSpPr/>
          <p:nvPr/>
        </p:nvSpPr>
        <p:spPr>
          <a:xfrm>
            <a:off x="9327501" y="2177891"/>
            <a:ext cx="1040322" cy="497682"/>
          </a:xfrm>
          <a:custGeom>
            <a:avLst/>
            <a:gdLst/>
            <a:ahLst/>
            <a:cxnLst/>
            <a:rect l="l" t="t" r="r" b="b"/>
            <a:pathLst>
              <a:path w="792479" h="384175">
                <a:moveTo>
                  <a:pt x="756005" y="0"/>
                </a:moveTo>
                <a:lnTo>
                  <a:pt x="36004" y="0"/>
                </a:lnTo>
                <a:lnTo>
                  <a:pt x="21988" y="2828"/>
                </a:lnTo>
                <a:lnTo>
                  <a:pt x="10544" y="10542"/>
                </a:lnTo>
                <a:lnTo>
                  <a:pt x="2828" y="21983"/>
                </a:lnTo>
                <a:lnTo>
                  <a:pt x="0" y="35991"/>
                </a:lnTo>
                <a:lnTo>
                  <a:pt x="0" y="347700"/>
                </a:lnTo>
                <a:lnTo>
                  <a:pt x="2828" y="361716"/>
                </a:lnTo>
                <a:lnTo>
                  <a:pt x="10544" y="373160"/>
                </a:lnTo>
                <a:lnTo>
                  <a:pt x="21988" y="380876"/>
                </a:lnTo>
                <a:lnTo>
                  <a:pt x="36004" y="383705"/>
                </a:lnTo>
                <a:lnTo>
                  <a:pt x="756005" y="383705"/>
                </a:lnTo>
                <a:lnTo>
                  <a:pt x="770016" y="380876"/>
                </a:lnTo>
                <a:lnTo>
                  <a:pt x="781461" y="373160"/>
                </a:lnTo>
                <a:lnTo>
                  <a:pt x="789179" y="361716"/>
                </a:lnTo>
                <a:lnTo>
                  <a:pt x="792010" y="347700"/>
                </a:lnTo>
                <a:lnTo>
                  <a:pt x="792010" y="35991"/>
                </a:lnTo>
                <a:lnTo>
                  <a:pt x="789179" y="21983"/>
                </a:lnTo>
                <a:lnTo>
                  <a:pt x="781461" y="10542"/>
                </a:lnTo>
                <a:lnTo>
                  <a:pt x="770016" y="2828"/>
                </a:lnTo>
                <a:lnTo>
                  <a:pt x="756005" y="0"/>
                </a:lnTo>
                <a:close/>
              </a:path>
            </a:pathLst>
          </a:custGeom>
          <a:solidFill>
            <a:srgbClr val="7FBDD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9" name="object 31">
            <a:extLst>
              <a:ext uri="{FF2B5EF4-FFF2-40B4-BE49-F238E27FC236}">
                <a16:creationId xmlns:a16="http://schemas.microsoft.com/office/drawing/2014/main" id="{2C9EAC48-0670-957D-3B29-D4C255204263}"/>
              </a:ext>
            </a:extLst>
          </p:cNvPr>
          <p:cNvSpPr txBox="1"/>
          <p:nvPr/>
        </p:nvSpPr>
        <p:spPr>
          <a:xfrm>
            <a:off x="9477119" y="2334385"/>
            <a:ext cx="573164" cy="338433"/>
          </a:xfrm>
          <a:prstGeom prst="rect">
            <a:avLst/>
          </a:prstGeom>
        </p:spPr>
        <p:txBody>
          <a:bodyPr vert="horz" wrap="square" lIns="0" tIns="13693" rIns="0" bIns="0" rtlCol="0">
            <a:spAutoFit/>
          </a:bodyPr>
          <a:lstStyle/>
          <a:p>
            <a:pPr marL="13042">
              <a:spcBef>
                <a:spcPts val="108"/>
              </a:spcBef>
            </a:pPr>
            <a:r>
              <a:rPr lang="en-US" sz="1027" spc="-10">
                <a:solidFill>
                  <a:srgbClr val="FFFFFF"/>
                </a:solidFill>
                <a:latin typeface="AP Type Pro Text Medium"/>
                <a:cs typeface="AP Type Pro Text Medium"/>
              </a:rPr>
              <a:t>Online novices </a:t>
            </a:r>
            <a:endParaRPr lang="en-US" sz="1027">
              <a:latin typeface="AP Type Pro Text Medium"/>
              <a:cs typeface="AP Type Pro Text Medium"/>
            </a:endParaRPr>
          </a:p>
        </p:txBody>
      </p:sp>
      <p:sp>
        <p:nvSpPr>
          <p:cNvPr id="150" name="object 32">
            <a:extLst>
              <a:ext uri="{FF2B5EF4-FFF2-40B4-BE49-F238E27FC236}">
                <a16:creationId xmlns:a16="http://schemas.microsoft.com/office/drawing/2014/main" id="{0CCF8BE3-2712-47BA-4FDD-452EF979E798}"/>
              </a:ext>
            </a:extLst>
          </p:cNvPr>
          <p:cNvSpPr/>
          <p:nvPr/>
        </p:nvSpPr>
        <p:spPr>
          <a:xfrm>
            <a:off x="9327504" y="2107425"/>
            <a:ext cx="2044130" cy="241263"/>
          </a:xfrm>
          <a:custGeom>
            <a:avLst/>
            <a:gdLst/>
            <a:ahLst/>
            <a:cxnLst/>
            <a:rect l="l" t="t" r="r" b="b"/>
            <a:pathLst>
              <a:path w="2315845" h="234950">
                <a:moveTo>
                  <a:pt x="2279650" y="0"/>
                </a:moveTo>
                <a:lnTo>
                  <a:pt x="36004" y="0"/>
                </a:lnTo>
                <a:lnTo>
                  <a:pt x="21988" y="2828"/>
                </a:lnTo>
                <a:lnTo>
                  <a:pt x="10544" y="10542"/>
                </a:lnTo>
                <a:lnTo>
                  <a:pt x="2828" y="21983"/>
                </a:lnTo>
                <a:lnTo>
                  <a:pt x="0" y="35991"/>
                </a:lnTo>
                <a:lnTo>
                  <a:pt x="0" y="198716"/>
                </a:lnTo>
                <a:lnTo>
                  <a:pt x="2828" y="212732"/>
                </a:lnTo>
                <a:lnTo>
                  <a:pt x="10544" y="224177"/>
                </a:lnTo>
                <a:lnTo>
                  <a:pt x="21988" y="231892"/>
                </a:lnTo>
                <a:lnTo>
                  <a:pt x="36004" y="234721"/>
                </a:lnTo>
                <a:lnTo>
                  <a:pt x="2279650" y="234721"/>
                </a:lnTo>
                <a:lnTo>
                  <a:pt x="2293666" y="231892"/>
                </a:lnTo>
                <a:lnTo>
                  <a:pt x="2305110" y="224177"/>
                </a:lnTo>
                <a:lnTo>
                  <a:pt x="2312825" y="212732"/>
                </a:lnTo>
                <a:lnTo>
                  <a:pt x="2315654" y="198716"/>
                </a:lnTo>
                <a:lnTo>
                  <a:pt x="2315654" y="35991"/>
                </a:lnTo>
                <a:lnTo>
                  <a:pt x="2312825" y="21983"/>
                </a:lnTo>
                <a:lnTo>
                  <a:pt x="2305110" y="10542"/>
                </a:lnTo>
                <a:lnTo>
                  <a:pt x="2293666" y="2828"/>
                </a:lnTo>
                <a:lnTo>
                  <a:pt x="2279650" y="0"/>
                </a:lnTo>
                <a:close/>
              </a:path>
            </a:pathLst>
          </a:custGeom>
          <a:solidFill>
            <a:srgbClr val="007AA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1" name="object 33">
            <a:extLst>
              <a:ext uri="{FF2B5EF4-FFF2-40B4-BE49-F238E27FC236}">
                <a16:creationId xmlns:a16="http://schemas.microsoft.com/office/drawing/2014/main" id="{429EA3CA-748F-1088-9166-99090A42DF6F}"/>
              </a:ext>
            </a:extLst>
          </p:cNvPr>
          <p:cNvSpPr txBox="1"/>
          <p:nvPr/>
        </p:nvSpPr>
        <p:spPr>
          <a:xfrm>
            <a:off x="9477118" y="2132527"/>
            <a:ext cx="1388243" cy="171883"/>
          </a:xfrm>
          <a:prstGeom prst="rect">
            <a:avLst/>
          </a:prstGeom>
        </p:spPr>
        <p:txBody>
          <a:bodyPr vert="horz" wrap="square" lIns="0" tIns="13693" rIns="0" bIns="0" rtlCol="0">
            <a:spAutoFit/>
          </a:bodyPr>
          <a:lstStyle/>
          <a:p>
            <a:pPr marL="13042">
              <a:spcBef>
                <a:spcPts val="108"/>
              </a:spcBef>
            </a:pPr>
            <a:r>
              <a:rPr lang="en-AU" sz="1027">
                <a:solidFill>
                  <a:srgbClr val="FFFFFF"/>
                </a:solidFill>
                <a:latin typeface="AP Type Pro Text Medium"/>
                <a:cs typeface="AP Type Pro Text Medium"/>
              </a:rPr>
              <a:t>Baby</a:t>
            </a:r>
            <a:r>
              <a:rPr lang="en-AU" sz="1027" spc="-15">
                <a:solidFill>
                  <a:srgbClr val="FFFFFF"/>
                </a:solidFill>
                <a:latin typeface="AP Type Pro Text Medium"/>
                <a:cs typeface="AP Type Pro Text Medium"/>
              </a:rPr>
              <a:t> </a:t>
            </a:r>
            <a:r>
              <a:rPr lang="en-AU" sz="1027">
                <a:solidFill>
                  <a:srgbClr val="FFFFFF"/>
                </a:solidFill>
                <a:latin typeface="AP Type Pro Text Medium"/>
                <a:cs typeface="AP Type Pro Text Medium"/>
              </a:rPr>
              <a:t>Boomers</a:t>
            </a:r>
            <a:r>
              <a:rPr lang="en-AU" sz="1027" spc="15">
                <a:solidFill>
                  <a:srgbClr val="FFFFFF"/>
                </a:solidFill>
                <a:latin typeface="AP Type Pro Text Medium"/>
                <a:cs typeface="AP Type Pro Text Medium"/>
              </a:rPr>
              <a:t> </a:t>
            </a:r>
            <a:r>
              <a:rPr lang="en-AU" sz="1027" spc="-26">
                <a:solidFill>
                  <a:srgbClr val="FFFFFF"/>
                </a:solidFill>
                <a:latin typeface="AP Type Pro Text Medium"/>
                <a:cs typeface="AP Type Pro Text Medium"/>
              </a:rPr>
              <a:t>(60-78)</a:t>
            </a:r>
            <a:endParaRPr lang="en-AU" sz="1027">
              <a:latin typeface="AP Type Pro Text Medium"/>
              <a:cs typeface="AP Type Pro Text Medium"/>
            </a:endParaRPr>
          </a:p>
        </p:txBody>
      </p:sp>
      <p:sp>
        <p:nvSpPr>
          <p:cNvPr id="157" name="object 6">
            <a:extLst>
              <a:ext uri="{FF2B5EF4-FFF2-40B4-BE49-F238E27FC236}">
                <a16:creationId xmlns:a16="http://schemas.microsoft.com/office/drawing/2014/main" id="{DFD7DCA5-935C-6559-0064-5352E0983847}"/>
              </a:ext>
            </a:extLst>
          </p:cNvPr>
          <p:cNvSpPr txBox="1"/>
          <p:nvPr/>
        </p:nvSpPr>
        <p:spPr>
          <a:xfrm>
            <a:off x="874268" y="6419256"/>
            <a:ext cx="5409561" cy="174220"/>
          </a:xfrm>
          <a:prstGeom prst="rect">
            <a:avLst/>
          </a:prstGeom>
        </p:spPr>
        <p:txBody>
          <a:bodyPr vert="horz" wrap="square" lIns="0" tIns="59989" rIns="0" bIns="0" rtlCol="0">
            <a:spAutoFit/>
          </a:bodyPr>
          <a:lstStyle/>
          <a:p>
            <a:pPr marL="13040">
              <a:spcBef>
                <a:spcPts val="471"/>
              </a:spcBef>
              <a:tabLst>
                <a:tab pos="117364" algn="l"/>
              </a:tabLst>
            </a:pPr>
            <a:r>
              <a:rPr lang="en-US" sz="719" spc="-10">
                <a:latin typeface="AP Type Pro Text Light"/>
                <a:cs typeface="AP Type Pro Text Light"/>
              </a:rPr>
              <a:t>Source: CommBank </a:t>
            </a:r>
            <a:r>
              <a:rPr lang="en-US" sz="719" spc="-10" err="1">
                <a:latin typeface="AP Type Pro Text Light"/>
                <a:cs typeface="AP Type Pro Text Light"/>
              </a:rPr>
              <a:t>iQ</a:t>
            </a:r>
            <a:r>
              <a:rPr lang="en-US" sz="719" spc="-10">
                <a:latin typeface="AP Type Pro Text Light"/>
                <a:cs typeface="AP Type Pro Text Light"/>
              </a:rPr>
              <a:t>, Jan 2024; Australia Post Omnibus Survey, Nov 2023</a:t>
            </a:r>
            <a:endParaRPr sz="719">
              <a:latin typeface="AP Type Pro Text Light"/>
              <a:cs typeface="AP Type Pro Text Light"/>
            </a:endParaRPr>
          </a:p>
        </p:txBody>
      </p:sp>
      <p:sp>
        <p:nvSpPr>
          <p:cNvPr id="158" name="object 13">
            <a:extLst>
              <a:ext uri="{FF2B5EF4-FFF2-40B4-BE49-F238E27FC236}">
                <a16:creationId xmlns:a16="http://schemas.microsoft.com/office/drawing/2014/main" id="{1D87135E-9C5A-C5B6-7C9F-CD72B2E4AB52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8965436" y="6464889"/>
            <a:ext cx="2595864" cy="158681"/>
          </a:xfrm>
          <a:prstGeom prst="rect">
            <a:avLst/>
          </a:prstGeom>
        </p:spPr>
        <p:txBody>
          <a:bodyPr vert="horz" wrap="square" lIns="0" tIns="31951" rIns="0" bIns="0" rtlCol="0">
            <a:spAutoFit/>
          </a:bodyPr>
          <a:lstStyle/>
          <a:p>
            <a:pPr marL="13042">
              <a:spcBef>
                <a:spcPts val="252"/>
              </a:spcBef>
            </a:pPr>
            <a:r>
              <a:t>Inside</a:t>
            </a:r>
            <a:r>
              <a:rPr spc="-21"/>
              <a:t> </a:t>
            </a:r>
            <a:r>
              <a:rPr spc="-10"/>
              <a:t>Australian</a:t>
            </a:r>
            <a:r>
              <a:t> Online</a:t>
            </a:r>
            <a:r>
              <a:rPr spc="5"/>
              <a:t> </a:t>
            </a:r>
            <a:r>
              <a:t>Shopping</a:t>
            </a:r>
            <a:r>
              <a:rPr spc="288"/>
              <a:t> </a:t>
            </a:r>
            <a:r>
              <a:rPr>
                <a:solidFill>
                  <a:srgbClr val="DC1928"/>
                </a:solidFill>
              </a:rPr>
              <a:t>|</a:t>
            </a:r>
            <a:r>
              <a:rPr spc="267">
                <a:solidFill>
                  <a:srgbClr val="DC1928"/>
                </a:solidFill>
              </a:rPr>
              <a:t> </a:t>
            </a:r>
            <a:r>
              <a:rPr spc="-10"/>
              <a:t>Australia</a:t>
            </a:r>
            <a:r>
              <a:t> Post</a:t>
            </a:r>
            <a:r>
              <a:rPr spc="288"/>
              <a:t> </a:t>
            </a:r>
            <a:r>
              <a:rPr>
                <a:solidFill>
                  <a:srgbClr val="DC1928"/>
                </a:solidFill>
              </a:rPr>
              <a:t>|</a:t>
            </a:r>
            <a:r>
              <a:rPr spc="293">
                <a:solidFill>
                  <a:srgbClr val="DC1928"/>
                </a:solidFill>
              </a:rPr>
              <a:t> </a:t>
            </a:r>
            <a:r>
              <a:rPr spc="-21"/>
              <a:t>2024</a:t>
            </a:r>
          </a:p>
        </p:txBody>
      </p:sp>
      <p:sp>
        <p:nvSpPr>
          <p:cNvPr id="159" name="object 15">
            <a:extLst>
              <a:ext uri="{FF2B5EF4-FFF2-40B4-BE49-F238E27FC236}">
                <a16:creationId xmlns:a16="http://schemas.microsoft.com/office/drawing/2014/main" id="{7A7918D6-6532-5F08-5858-A853FCEEBCE0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11722251" y="6446096"/>
            <a:ext cx="219092" cy="195554"/>
          </a:xfrm>
          <a:prstGeom prst="rect">
            <a:avLst/>
          </a:prstGeom>
        </p:spPr>
        <p:txBody>
          <a:bodyPr vert="horz" wrap="square" lIns="0" tIns="37168" rIns="0" bIns="0" rtlCol="0">
            <a:spAutoFit/>
          </a:bodyPr>
          <a:lstStyle/>
          <a:p>
            <a:pPr marL="39123">
              <a:spcBef>
                <a:spcPts val="293"/>
              </a:spcBef>
            </a:pPr>
            <a:fld id="{81D60167-4931-47E6-BA6A-407CBD079E47}" type="slidenum">
              <a:rPr spc="-26" dirty="0"/>
              <a:pPr marL="39123">
                <a:spcBef>
                  <a:spcPts val="293"/>
                </a:spcBef>
              </a:pPr>
              <a:t>6</a:t>
            </a:fld>
            <a:endParaRPr spc="-26"/>
          </a:p>
        </p:txBody>
      </p:sp>
      <p:sp>
        <p:nvSpPr>
          <p:cNvPr id="2" name="object 17">
            <a:extLst>
              <a:ext uri="{FF2B5EF4-FFF2-40B4-BE49-F238E27FC236}">
                <a16:creationId xmlns:a16="http://schemas.microsoft.com/office/drawing/2014/main" id="{057D1AC8-83AD-34AA-B907-51B3214BC1B4}"/>
              </a:ext>
            </a:extLst>
          </p:cNvPr>
          <p:cNvSpPr txBox="1"/>
          <p:nvPr/>
        </p:nvSpPr>
        <p:spPr>
          <a:xfrm>
            <a:off x="1006382" y="2132526"/>
            <a:ext cx="841162" cy="176131"/>
          </a:xfrm>
          <a:prstGeom prst="rect">
            <a:avLst/>
          </a:prstGeom>
        </p:spPr>
        <p:txBody>
          <a:bodyPr vert="horz" wrap="square" lIns="0" tIns="13693" rIns="0" bIns="0" rtlCol="0">
            <a:spAutoFit/>
          </a:bodyPr>
          <a:lstStyle/>
          <a:p>
            <a:pPr marL="13042">
              <a:spcBef>
                <a:spcPts val="108"/>
              </a:spcBef>
            </a:pPr>
            <a:r>
              <a:rPr lang="en-AU" sz="1027">
                <a:solidFill>
                  <a:srgbClr val="FFFFFF"/>
                </a:solidFill>
                <a:latin typeface="AP Type Pro Text Medium"/>
                <a:cs typeface="AP Type Pro Text Medium"/>
              </a:rPr>
              <a:t>Gen</a:t>
            </a:r>
            <a:r>
              <a:rPr lang="en-AU" sz="1027" spc="5">
                <a:solidFill>
                  <a:srgbClr val="FFFFFF"/>
                </a:solidFill>
                <a:latin typeface="AP Type Pro Text Medium"/>
                <a:cs typeface="AP Type Pro Text Medium"/>
              </a:rPr>
              <a:t> </a:t>
            </a:r>
            <a:r>
              <a:rPr lang="en-AU" sz="1027">
                <a:solidFill>
                  <a:srgbClr val="FFFFFF"/>
                </a:solidFill>
                <a:latin typeface="AP Type Pro Text Medium"/>
                <a:cs typeface="AP Type Pro Text Medium"/>
              </a:rPr>
              <a:t>Z</a:t>
            </a:r>
            <a:r>
              <a:rPr lang="en-AU" sz="1027" spc="10">
                <a:solidFill>
                  <a:srgbClr val="FFFFFF"/>
                </a:solidFill>
                <a:latin typeface="AP Type Pro Text Medium"/>
                <a:cs typeface="AP Type Pro Text Medium"/>
              </a:rPr>
              <a:t> </a:t>
            </a:r>
            <a:r>
              <a:rPr lang="en-AU" sz="1027" spc="-10">
                <a:solidFill>
                  <a:srgbClr val="FFFFFF"/>
                </a:solidFill>
                <a:latin typeface="AP Type Pro Text Medium"/>
                <a:cs typeface="AP Type Pro Text Medium"/>
              </a:rPr>
              <a:t>(18-</a:t>
            </a:r>
            <a:r>
              <a:rPr lang="en-AU" sz="1027" spc="-26">
                <a:solidFill>
                  <a:srgbClr val="FFFFFF"/>
                </a:solidFill>
                <a:latin typeface="AP Type Pro Text Medium"/>
                <a:cs typeface="AP Type Pro Text Medium"/>
              </a:rPr>
              <a:t>25)</a:t>
            </a:r>
            <a:endParaRPr lang="en-AU" sz="1027">
              <a:latin typeface="AP Type Pro Text Medium"/>
              <a:cs typeface="AP Type Pro Text Medium"/>
            </a:endParaRPr>
          </a:p>
        </p:txBody>
      </p:sp>
      <p:sp>
        <p:nvSpPr>
          <p:cNvPr id="3" name="object 17">
            <a:extLst>
              <a:ext uri="{FF2B5EF4-FFF2-40B4-BE49-F238E27FC236}">
                <a16:creationId xmlns:a16="http://schemas.microsoft.com/office/drawing/2014/main" id="{304625B9-66E2-290D-0EEA-DFD32E7169EE}"/>
              </a:ext>
            </a:extLst>
          </p:cNvPr>
          <p:cNvSpPr txBox="1"/>
          <p:nvPr/>
        </p:nvSpPr>
        <p:spPr>
          <a:xfrm>
            <a:off x="2598515" y="2164799"/>
            <a:ext cx="841162" cy="176131"/>
          </a:xfrm>
          <a:prstGeom prst="rect">
            <a:avLst/>
          </a:prstGeom>
        </p:spPr>
        <p:txBody>
          <a:bodyPr vert="horz" wrap="square" lIns="0" tIns="13693" rIns="0" bIns="0" rtlCol="0">
            <a:spAutoFit/>
          </a:bodyPr>
          <a:lstStyle/>
          <a:p>
            <a:pPr marL="13042">
              <a:spcBef>
                <a:spcPts val="108"/>
              </a:spcBef>
            </a:pPr>
            <a:r>
              <a:rPr lang="en-AU" sz="1027">
                <a:solidFill>
                  <a:srgbClr val="FFFFFF"/>
                </a:solidFill>
                <a:latin typeface="AP Type Pro Text Medium"/>
                <a:cs typeface="AP Type Pro Text Medium"/>
              </a:rPr>
              <a:t>Gen</a:t>
            </a:r>
            <a:r>
              <a:rPr lang="en-AU" sz="1027" spc="5">
                <a:solidFill>
                  <a:srgbClr val="FFFFFF"/>
                </a:solidFill>
                <a:latin typeface="AP Type Pro Text Medium"/>
                <a:cs typeface="AP Type Pro Text Medium"/>
              </a:rPr>
              <a:t> </a:t>
            </a:r>
            <a:r>
              <a:rPr lang="en-AU" sz="1027">
                <a:solidFill>
                  <a:srgbClr val="FFFFFF"/>
                </a:solidFill>
                <a:latin typeface="AP Type Pro Text Medium"/>
                <a:cs typeface="AP Type Pro Text Medium"/>
              </a:rPr>
              <a:t>Z</a:t>
            </a:r>
            <a:r>
              <a:rPr lang="en-AU" sz="1027" spc="10">
                <a:solidFill>
                  <a:srgbClr val="FFFFFF"/>
                </a:solidFill>
                <a:latin typeface="AP Type Pro Text Medium"/>
                <a:cs typeface="AP Type Pro Text Medium"/>
              </a:rPr>
              <a:t> </a:t>
            </a:r>
            <a:r>
              <a:rPr lang="en-AU" sz="1027" spc="-10">
                <a:solidFill>
                  <a:srgbClr val="FFFFFF"/>
                </a:solidFill>
                <a:latin typeface="AP Type Pro Text Medium"/>
                <a:cs typeface="AP Type Pro Text Medium"/>
              </a:rPr>
              <a:t>(18-</a:t>
            </a:r>
            <a:r>
              <a:rPr lang="en-AU" sz="1027" spc="-26">
                <a:solidFill>
                  <a:srgbClr val="FFFFFF"/>
                </a:solidFill>
                <a:latin typeface="AP Type Pro Text Medium"/>
                <a:cs typeface="AP Type Pro Text Medium"/>
              </a:rPr>
              <a:t>25)</a:t>
            </a:r>
            <a:endParaRPr lang="en-AU" sz="1027">
              <a:latin typeface="AP Type Pro Text Medium"/>
              <a:cs typeface="AP Type Pro Text Medium"/>
            </a:endParaRPr>
          </a:p>
        </p:txBody>
      </p:sp>
      <p:sp>
        <p:nvSpPr>
          <p:cNvPr id="4" name="object 11">
            <a:extLst>
              <a:ext uri="{FF2B5EF4-FFF2-40B4-BE49-F238E27FC236}">
                <a16:creationId xmlns:a16="http://schemas.microsoft.com/office/drawing/2014/main" id="{BA70A26C-2EF5-92C9-29CC-19F48F751E3C}"/>
              </a:ext>
            </a:extLst>
          </p:cNvPr>
          <p:cNvSpPr txBox="1"/>
          <p:nvPr/>
        </p:nvSpPr>
        <p:spPr>
          <a:xfrm>
            <a:off x="10480865" y="936791"/>
            <a:ext cx="445460" cy="297699"/>
          </a:xfrm>
          <a:prstGeom prst="rect">
            <a:avLst/>
          </a:prstGeom>
          <a:noFill/>
        </p:spPr>
        <p:txBody>
          <a:bodyPr vert="horz" wrap="square" lIns="0" tIns="11737" rIns="0" bIns="0" rtlCol="0" anchor="t">
            <a:spAutoFit/>
          </a:bodyPr>
          <a:lstStyle/>
          <a:p>
            <a:pPr algn="ctr">
              <a:lnSpc>
                <a:spcPct val="134523"/>
              </a:lnSpc>
              <a:tabLst>
                <a:tab pos="1042593" algn="l"/>
                <a:tab pos="1898706" algn="l"/>
                <a:tab pos="2688311" algn="l"/>
              </a:tabLst>
            </a:pPr>
            <a:r>
              <a:rPr lang="en-AU" sz="719" b="1">
                <a:solidFill>
                  <a:srgbClr val="FFFFFF"/>
                </a:solidFill>
                <a:latin typeface="AP Type Pro Text"/>
                <a:cs typeface="AP Type Pro Text"/>
              </a:rPr>
              <a:t>Baby </a:t>
            </a:r>
            <a:r>
              <a:rPr lang="en-AU" sz="719" b="1" spc="-10">
                <a:solidFill>
                  <a:srgbClr val="FFFFFF"/>
                </a:solidFill>
                <a:latin typeface="AP Type Pro Text"/>
                <a:cs typeface="AP Type Pro Text"/>
              </a:rPr>
              <a:t>Boomers</a:t>
            </a:r>
            <a:endParaRPr lang="en-AU" sz="719">
              <a:latin typeface="AP Type Pro Text"/>
              <a:cs typeface="AP Type Pro Text"/>
            </a:endParaRPr>
          </a:p>
        </p:txBody>
      </p:sp>
    </p:spTree>
    <p:extLst>
      <p:ext uri="{BB962C8B-B14F-4D97-AF65-F5344CB8AC3E}">
        <p14:creationId xmlns:p14="http://schemas.microsoft.com/office/powerpoint/2010/main" val="25443524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person sitting on a bed looking at a phone&#10;&#10;Description automatically generated">
            <a:extLst>
              <a:ext uri="{FF2B5EF4-FFF2-40B4-BE49-F238E27FC236}">
                <a16:creationId xmlns:a16="http://schemas.microsoft.com/office/drawing/2014/main" id="{72618C44-68A7-6D38-CE8E-7A5149FC864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72" t="5732" r="27102" b="5960"/>
          <a:stretch/>
        </p:blipFill>
        <p:spPr>
          <a:xfrm>
            <a:off x="7028872" y="0"/>
            <a:ext cx="5164716" cy="6858000"/>
          </a:xfrm>
          <a:prstGeom prst="rect">
            <a:avLst/>
          </a:prstGeom>
        </p:spPr>
      </p:pic>
      <p:sp>
        <p:nvSpPr>
          <p:cNvPr id="18" name="object 4">
            <a:extLst>
              <a:ext uri="{FF2B5EF4-FFF2-40B4-BE49-F238E27FC236}">
                <a16:creationId xmlns:a16="http://schemas.microsoft.com/office/drawing/2014/main" id="{A99C2B84-696A-37A6-54D3-24A205F7581D}"/>
              </a:ext>
            </a:extLst>
          </p:cNvPr>
          <p:cNvSpPr txBox="1"/>
          <p:nvPr/>
        </p:nvSpPr>
        <p:spPr>
          <a:xfrm>
            <a:off x="843731" y="1370818"/>
            <a:ext cx="5480836" cy="647370"/>
          </a:xfrm>
          <a:prstGeom prst="rect">
            <a:avLst/>
          </a:prstGeom>
        </p:spPr>
        <p:txBody>
          <a:bodyPr vert="horz" wrap="square" lIns="0" tIns="14345" rIns="0" bIns="0" rtlCol="0">
            <a:spAutoFit/>
          </a:bodyPr>
          <a:lstStyle>
            <a:defPPr>
              <a:defRPr kern="0"/>
            </a:defPPr>
            <a:lvl1pPr marL="12700">
              <a:lnSpc>
                <a:spcPct val="100000"/>
              </a:lnSpc>
              <a:spcBef>
                <a:spcPts val="110"/>
              </a:spcBef>
              <a:defRPr sz="1400" b="0">
                <a:solidFill>
                  <a:srgbClr val="DC1928"/>
                </a:solidFill>
                <a:latin typeface="AP Type Pro Display Regular" panose="020B0604020202020204" charset="0"/>
                <a:cs typeface="AP Type Pro Display Regular"/>
              </a:defRPr>
            </a:lvl1pPr>
          </a:lstStyle>
          <a:p>
            <a:pPr>
              <a:spcBef>
                <a:spcPts val="590"/>
              </a:spcBef>
            </a:pPr>
            <a:r>
              <a:rPr lang="en-AU" sz="1335">
                <a:solidFill>
                  <a:srgbClr val="007BAB"/>
                </a:solidFill>
                <a:latin typeface="AP Type Pro Text Medium"/>
              </a:rPr>
              <a:t>A value driven shopper who is selective with what, where and how they spend their money. Here’s how they’re choosing to shop online in 2023.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2F8CD682-6152-29EE-930A-988BECB1ABE5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DF7F1"/>
              </a:clrFrom>
              <a:clrTo>
                <a:srgbClr val="FDF7F1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4205" y="3226505"/>
            <a:ext cx="591286" cy="704229"/>
          </a:xfrm>
          <a:prstGeom prst="rect">
            <a:avLst/>
          </a:prstGeom>
        </p:spPr>
      </p:pic>
      <p:sp>
        <p:nvSpPr>
          <p:cNvPr id="26" name="object 4">
            <a:extLst>
              <a:ext uri="{FF2B5EF4-FFF2-40B4-BE49-F238E27FC236}">
                <a16:creationId xmlns:a16="http://schemas.microsoft.com/office/drawing/2014/main" id="{810D1E73-AC25-C8F3-B26E-F624B8FBD527}"/>
              </a:ext>
            </a:extLst>
          </p:cNvPr>
          <p:cNvSpPr txBox="1"/>
          <p:nvPr/>
        </p:nvSpPr>
        <p:spPr>
          <a:xfrm>
            <a:off x="1626207" y="3304753"/>
            <a:ext cx="4783580" cy="598580"/>
          </a:xfrm>
          <a:prstGeom prst="rect">
            <a:avLst/>
          </a:prstGeom>
        </p:spPr>
        <p:txBody>
          <a:bodyPr vert="horz" wrap="square" lIns="0" tIns="14345" rIns="0" bIns="0" rtlCol="0">
            <a:spAutoFit/>
          </a:bodyPr>
          <a:lstStyle>
            <a:defPPr>
              <a:defRPr kern="0"/>
            </a:defPPr>
            <a:lvl1pPr marL="12700">
              <a:lnSpc>
                <a:spcPct val="100000"/>
              </a:lnSpc>
              <a:spcBef>
                <a:spcPts val="110"/>
              </a:spcBef>
              <a:defRPr sz="1400" b="0">
                <a:solidFill>
                  <a:srgbClr val="DC1928"/>
                </a:solidFill>
                <a:latin typeface="AP Type Pro Display Regular" panose="020B0604020202020204" charset="0"/>
                <a:cs typeface="AP Type Pro Display Regular"/>
              </a:defRPr>
            </a:lvl1pPr>
          </a:lstStyle>
          <a:p>
            <a:r>
              <a:rPr lang="en-AU" sz="1232" b="1">
                <a:solidFill>
                  <a:schemeClr val="tx1"/>
                </a:solidFill>
                <a:latin typeface="AP Type Text" panose="020B0503030202060203" pitchFamily="34" charset="0"/>
              </a:rPr>
              <a:t>Happy to wait for sales events before making a purchase. </a:t>
            </a:r>
            <a:r>
              <a:rPr lang="en-AU" sz="1232">
                <a:solidFill>
                  <a:schemeClr val="tx1"/>
                </a:solidFill>
                <a:latin typeface="AP Type Text" panose="020B0503030202060203" pitchFamily="34" charset="0"/>
              </a:rPr>
              <a:t>We’re seeing growth in key online sales events every year as consumers look for value and save where they can.</a:t>
            </a: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24A4F7E2-2E38-5C47-86A0-BD9D4CACBBAF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1986" t="28078" r="24182" b="26760"/>
          <a:stretch/>
        </p:blipFill>
        <p:spPr>
          <a:xfrm>
            <a:off x="932454" y="2440830"/>
            <a:ext cx="520143" cy="436364"/>
          </a:xfrm>
          <a:prstGeom prst="rect">
            <a:avLst/>
          </a:prstGeom>
        </p:spPr>
      </p:pic>
      <p:sp>
        <p:nvSpPr>
          <p:cNvPr id="43" name="object 4">
            <a:extLst>
              <a:ext uri="{FF2B5EF4-FFF2-40B4-BE49-F238E27FC236}">
                <a16:creationId xmlns:a16="http://schemas.microsoft.com/office/drawing/2014/main" id="{CAB23E2D-2DB1-0634-441B-B3AE8BCF40B5}"/>
              </a:ext>
            </a:extLst>
          </p:cNvPr>
          <p:cNvSpPr txBox="1"/>
          <p:nvPr/>
        </p:nvSpPr>
        <p:spPr>
          <a:xfrm>
            <a:off x="1626206" y="2541756"/>
            <a:ext cx="4538362" cy="209184"/>
          </a:xfrm>
          <a:prstGeom prst="rect">
            <a:avLst/>
          </a:prstGeom>
        </p:spPr>
        <p:txBody>
          <a:bodyPr vert="horz" wrap="square" lIns="0" tIns="14345" rIns="0" bIns="0" rtlCol="0">
            <a:spAutoFit/>
          </a:bodyPr>
          <a:lstStyle>
            <a:defPPr>
              <a:defRPr kern="0"/>
            </a:defPPr>
            <a:lvl1pPr marL="12700">
              <a:lnSpc>
                <a:spcPct val="100000"/>
              </a:lnSpc>
              <a:spcBef>
                <a:spcPts val="110"/>
              </a:spcBef>
              <a:defRPr sz="1400" b="0">
                <a:solidFill>
                  <a:srgbClr val="DC1928"/>
                </a:solidFill>
                <a:latin typeface="AP Type Pro Display Regular" panose="020B0604020202020204" charset="0"/>
                <a:cs typeface="AP Type Pro Display Regular"/>
              </a:defRPr>
            </a:lvl1pPr>
          </a:lstStyle>
          <a:p>
            <a:r>
              <a:rPr lang="en-AU" sz="1232" b="1">
                <a:solidFill>
                  <a:schemeClr val="tx1"/>
                </a:solidFill>
                <a:latin typeface="AP Type Text" panose="020B0503030202060203" pitchFamily="34" charset="0"/>
              </a:rPr>
              <a:t>Makes smaller, but (slightly) more frequent purchases.</a:t>
            </a:r>
            <a:endParaRPr lang="en-AU" sz="1232">
              <a:solidFill>
                <a:schemeClr val="tx1"/>
              </a:solidFill>
              <a:latin typeface="AP Type Text" panose="020B0503030202060203" pitchFamily="34" charset="0"/>
            </a:endParaRP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3C3035CF-1128-6EE3-D4C8-FA3D182533A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3767" y="4318474"/>
            <a:ext cx="625981" cy="556428"/>
          </a:xfrm>
          <a:prstGeom prst="rect">
            <a:avLst/>
          </a:prstGeom>
        </p:spPr>
      </p:pic>
      <p:sp>
        <p:nvSpPr>
          <p:cNvPr id="46" name="object 4">
            <a:extLst>
              <a:ext uri="{FF2B5EF4-FFF2-40B4-BE49-F238E27FC236}">
                <a16:creationId xmlns:a16="http://schemas.microsoft.com/office/drawing/2014/main" id="{A71DD1CA-5132-7BE9-4296-5493AB1714E6}"/>
              </a:ext>
            </a:extLst>
          </p:cNvPr>
          <p:cNvSpPr txBox="1"/>
          <p:nvPr/>
        </p:nvSpPr>
        <p:spPr>
          <a:xfrm>
            <a:off x="1645769" y="4319071"/>
            <a:ext cx="4783580" cy="598580"/>
          </a:xfrm>
          <a:prstGeom prst="rect">
            <a:avLst/>
          </a:prstGeom>
        </p:spPr>
        <p:txBody>
          <a:bodyPr vert="horz" wrap="square" lIns="0" tIns="14345" rIns="0" bIns="0" rtlCol="0">
            <a:spAutoFit/>
          </a:bodyPr>
          <a:lstStyle>
            <a:defPPr>
              <a:defRPr kern="0"/>
            </a:defPPr>
            <a:lvl1pPr marL="12700">
              <a:lnSpc>
                <a:spcPct val="100000"/>
              </a:lnSpc>
              <a:spcBef>
                <a:spcPts val="110"/>
              </a:spcBef>
              <a:defRPr sz="1400" b="0">
                <a:solidFill>
                  <a:srgbClr val="DC1928"/>
                </a:solidFill>
                <a:latin typeface="AP Type Pro Display Regular" panose="020B0604020202020204" charset="0"/>
                <a:cs typeface="AP Type Pro Display Regular"/>
              </a:defRPr>
            </a:lvl1pPr>
          </a:lstStyle>
          <a:p>
            <a:r>
              <a:rPr lang="en-AU" sz="1232" b="1">
                <a:solidFill>
                  <a:schemeClr val="tx1"/>
                </a:solidFill>
                <a:latin typeface="AP Type Text" panose="020B0503030202060203" pitchFamily="34" charset="0"/>
              </a:rPr>
              <a:t>Turns to online marketplaces for their shopping. </a:t>
            </a:r>
            <a:r>
              <a:rPr lang="en-AU" sz="1232">
                <a:solidFill>
                  <a:schemeClr val="tx1"/>
                </a:solidFill>
                <a:latin typeface="AP Type Text" panose="020B0503030202060203" pitchFamily="34" charset="0"/>
              </a:rPr>
              <a:t>New entrants are disrupting the market, offering low priced items across a variety of categories. </a:t>
            </a:r>
          </a:p>
        </p:txBody>
      </p:sp>
      <p:sp>
        <p:nvSpPr>
          <p:cNvPr id="64" name="object 3">
            <a:extLst>
              <a:ext uri="{FF2B5EF4-FFF2-40B4-BE49-F238E27FC236}">
                <a16:creationId xmlns:a16="http://schemas.microsoft.com/office/drawing/2014/main" id="{94B1F224-64DA-72FD-4A71-8BFA5D2D1483}"/>
              </a:ext>
            </a:extLst>
          </p:cNvPr>
          <p:cNvSpPr/>
          <p:nvPr/>
        </p:nvSpPr>
        <p:spPr>
          <a:xfrm flipH="1">
            <a:off x="623737" y="576771"/>
            <a:ext cx="45719" cy="5742610"/>
          </a:xfrm>
          <a:custGeom>
            <a:avLst/>
            <a:gdLst/>
            <a:ahLst/>
            <a:cxnLst/>
            <a:rect l="l" t="t" r="r" b="b"/>
            <a:pathLst>
              <a:path h="6264275">
                <a:moveTo>
                  <a:pt x="0" y="0"/>
                </a:moveTo>
                <a:lnTo>
                  <a:pt x="0" y="6263995"/>
                </a:lnTo>
              </a:path>
            </a:pathLst>
          </a:custGeom>
          <a:ln w="12700">
            <a:solidFill>
              <a:srgbClr val="2B559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6" name="object 6">
            <a:extLst>
              <a:ext uri="{FF2B5EF4-FFF2-40B4-BE49-F238E27FC236}">
                <a16:creationId xmlns:a16="http://schemas.microsoft.com/office/drawing/2014/main" id="{9F49F4B8-828A-CCEC-C0EC-2F7D25F650B4}"/>
              </a:ext>
            </a:extLst>
          </p:cNvPr>
          <p:cNvGrpSpPr/>
          <p:nvPr/>
        </p:nvGrpSpPr>
        <p:grpSpPr>
          <a:xfrm>
            <a:off x="7423492" y="5005987"/>
            <a:ext cx="3933959" cy="1333914"/>
            <a:chOff x="6588051" y="5534505"/>
            <a:chExt cx="4644076" cy="1574698"/>
          </a:xfrm>
        </p:grpSpPr>
        <p:sp>
          <p:nvSpPr>
            <p:cNvPr id="7" name="object 7">
              <a:extLst>
                <a:ext uri="{FF2B5EF4-FFF2-40B4-BE49-F238E27FC236}">
                  <a16:creationId xmlns:a16="http://schemas.microsoft.com/office/drawing/2014/main" id="{2962EDF0-DDF1-E325-A8C9-0232C0090772}"/>
                </a:ext>
              </a:extLst>
            </p:cNvPr>
            <p:cNvSpPr/>
            <p:nvPr/>
          </p:nvSpPr>
          <p:spPr>
            <a:xfrm>
              <a:off x="7491977" y="5547203"/>
              <a:ext cx="3740150" cy="1365250"/>
            </a:xfrm>
            <a:custGeom>
              <a:avLst/>
              <a:gdLst/>
              <a:ahLst/>
              <a:cxnLst/>
              <a:rect l="l" t="t" r="r" b="b"/>
              <a:pathLst>
                <a:path w="3740150" h="1365250">
                  <a:moveTo>
                    <a:pt x="3704018" y="0"/>
                  </a:moveTo>
                  <a:lnTo>
                    <a:pt x="36004" y="0"/>
                  </a:lnTo>
                  <a:lnTo>
                    <a:pt x="21988" y="2830"/>
                  </a:lnTo>
                  <a:lnTo>
                    <a:pt x="10544" y="10548"/>
                  </a:lnTo>
                  <a:lnTo>
                    <a:pt x="2828" y="21993"/>
                  </a:lnTo>
                  <a:lnTo>
                    <a:pt x="0" y="36004"/>
                  </a:lnTo>
                  <a:lnTo>
                    <a:pt x="0" y="1328800"/>
                  </a:lnTo>
                  <a:lnTo>
                    <a:pt x="2828" y="1342811"/>
                  </a:lnTo>
                  <a:lnTo>
                    <a:pt x="10544" y="1354256"/>
                  </a:lnTo>
                  <a:lnTo>
                    <a:pt x="21988" y="1361974"/>
                  </a:lnTo>
                  <a:lnTo>
                    <a:pt x="36004" y="1364805"/>
                  </a:lnTo>
                  <a:lnTo>
                    <a:pt x="3704018" y="1364805"/>
                  </a:lnTo>
                  <a:lnTo>
                    <a:pt x="3718034" y="1361974"/>
                  </a:lnTo>
                  <a:lnTo>
                    <a:pt x="3729478" y="1354256"/>
                  </a:lnTo>
                  <a:lnTo>
                    <a:pt x="3737194" y="1342811"/>
                  </a:lnTo>
                  <a:lnTo>
                    <a:pt x="3740023" y="1328800"/>
                  </a:lnTo>
                  <a:lnTo>
                    <a:pt x="3740023" y="36004"/>
                  </a:lnTo>
                  <a:lnTo>
                    <a:pt x="3737194" y="21993"/>
                  </a:lnTo>
                  <a:lnTo>
                    <a:pt x="3729478" y="10548"/>
                  </a:lnTo>
                  <a:lnTo>
                    <a:pt x="3718034" y="2830"/>
                  </a:lnTo>
                  <a:lnTo>
                    <a:pt x="3704018" y="0"/>
                  </a:lnTo>
                  <a:close/>
                </a:path>
              </a:pathLst>
            </a:custGeom>
            <a:solidFill>
              <a:srgbClr val="EFF2F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>
              <a:extLst>
                <a:ext uri="{FF2B5EF4-FFF2-40B4-BE49-F238E27FC236}">
                  <a16:creationId xmlns:a16="http://schemas.microsoft.com/office/drawing/2014/main" id="{DB847D4F-DF83-7EA8-188D-C4F9C68EAE33}"/>
                </a:ext>
              </a:extLst>
            </p:cNvPr>
            <p:cNvSpPr/>
            <p:nvPr/>
          </p:nvSpPr>
          <p:spPr>
            <a:xfrm>
              <a:off x="6924678" y="5534505"/>
              <a:ext cx="1378585" cy="1378585"/>
            </a:xfrm>
            <a:custGeom>
              <a:avLst/>
              <a:gdLst/>
              <a:ahLst/>
              <a:cxnLst/>
              <a:rect l="l" t="t" r="r" b="b"/>
              <a:pathLst>
                <a:path w="1378584" h="1378584">
                  <a:moveTo>
                    <a:pt x="689267" y="0"/>
                  </a:moveTo>
                  <a:lnTo>
                    <a:pt x="642075" y="1590"/>
                  </a:lnTo>
                  <a:lnTo>
                    <a:pt x="595738" y="6291"/>
                  </a:lnTo>
                  <a:lnTo>
                    <a:pt x="550356" y="14003"/>
                  </a:lnTo>
                  <a:lnTo>
                    <a:pt x="506033" y="24620"/>
                  </a:lnTo>
                  <a:lnTo>
                    <a:pt x="462871" y="38041"/>
                  </a:lnTo>
                  <a:lnTo>
                    <a:pt x="420974" y="54164"/>
                  </a:lnTo>
                  <a:lnTo>
                    <a:pt x="380443" y="72885"/>
                  </a:lnTo>
                  <a:lnTo>
                    <a:pt x="341381" y="94102"/>
                  </a:lnTo>
                  <a:lnTo>
                    <a:pt x="303892" y="117713"/>
                  </a:lnTo>
                  <a:lnTo>
                    <a:pt x="268077" y="143614"/>
                  </a:lnTo>
                  <a:lnTo>
                    <a:pt x="234039" y="171703"/>
                  </a:lnTo>
                  <a:lnTo>
                    <a:pt x="201882" y="201877"/>
                  </a:lnTo>
                  <a:lnTo>
                    <a:pt x="171707" y="234034"/>
                  </a:lnTo>
                  <a:lnTo>
                    <a:pt x="143618" y="268071"/>
                  </a:lnTo>
                  <a:lnTo>
                    <a:pt x="117716" y="303886"/>
                  </a:lnTo>
                  <a:lnTo>
                    <a:pt x="94105" y="341376"/>
                  </a:lnTo>
                  <a:lnTo>
                    <a:pt x="72887" y="380437"/>
                  </a:lnTo>
                  <a:lnTo>
                    <a:pt x="54166" y="420968"/>
                  </a:lnTo>
                  <a:lnTo>
                    <a:pt x="38043" y="462866"/>
                  </a:lnTo>
                  <a:lnTo>
                    <a:pt x="24621" y="506028"/>
                  </a:lnTo>
                  <a:lnTo>
                    <a:pt x="14003" y="550352"/>
                  </a:lnTo>
                  <a:lnTo>
                    <a:pt x="6292" y="595735"/>
                  </a:lnTo>
                  <a:lnTo>
                    <a:pt x="1590" y="642074"/>
                  </a:lnTo>
                  <a:lnTo>
                    <a:pt x="0" y="689267"/>
                  </a:lnTo>
                  <a:lnTo>
                    <a:pt x="1590" y="736458"/>
                  </a:lnTo>
                  <a:lnTo>
                    <a:pt x="6292" y="782795"/>
                  </a:lnTo>
                  <a:lnTo>
                    <a:pt x="14003" y="828177"/>
                  </a:lnTo>
                  <a:lnTo>
                    <a:pt x="24621" y="872499"/>
                  </a:lnTo>
                  <a:lnTo>
                    <a:pt x="38043" y="915661"/>
                  </a:lnTo>
                  <a:lnTo>
                    <a:pt x="54166" y="957558"/>
                  </a:lnTo>
                  <a:lnTo>
                    <a:pt x="72887" y="998088"/>
                  </a:lnTo>
                  <a:lnTo>
                    <a:pt x="94105" y="1037149"/>
                  </a:lnTo>
                  <a:lnTo>
                    <a:pt x="117716" y="1074638"/>
                  </a:lnTo>
                  <a:lnTo>
                    <a:pt x="143618" y="1110452"/>
                  </a:lnTo>
                  <a:lnTo>
                    <a:pt x="171707" y="1144488"/>
                  </a:lnTo>
                  <a:lnTo>
                    <a:pt x="201882" y="1176645"/>
                  </a:lnTo>
                  <a:lnTo>
                    <a:pt x="234039" y="1206819"/>
                  </a:lnTo>
                  <a:lnTo>
                    <a:pt x="268077" y="1234908"/>
                  </a:lnTo>
                  <a:lnTo>
                    <a:pt x="303892" y="1260809"/>
                  </a:lnTo>
                  <a:lnTo>
                    <a:pt x="341381" y="1284419"/>
                  </a:lnTo>
                  <a:lnTo>
                    <a:pt x="380443" y="1305636"/>
                  </a:lnTo>
                  <a:lnTo>
                    <a:pt x="420974" y="1324357"/>
                  </a:lnTo>
                  <a:lnTo>
                    <a:pt x="462871" y="1340479"/>
                  </a:lnTo>
                  <a:lnTo>
                    <a:pt x="506033" y="1353901"/>
                  </a:lnTo>
                  <a:lnTo>
                    <a:pt x="550356" y="1364518"/>
                  </a:lnTo>
                  <a:lnTo>
                    <a:pt x="595738" y="1372229"/>
                  </a:lnTo>
                  <a:lnTo>
                    <a:pt x="642075" y="1376931"/>
                  </a:lnTo>
                  <a:lnTo>
                    <a:pt x="689267" y="1378521"/>
                  </a:lnTo>
                  <a:lnTo>
                    <a:pt x="736456" y="1376931"/>
                  </a:lnTo>
                  <a:lnTo>
                    <a:pt x="782793" y="1372229"/>
                  </a:lnTo>
                  <a:lnTo>
                    <a:pt x="828174" y="1364518"/>
                  </a:lnTo>
                  <a:lnTo>
                    <a:pt x="872496" y="1353901"/>
                  </a:lnTo>
                  <a:lnTo>
                    <a:pt x="915657" y="1340479"/>
                  </a:lnTo>
                  <a:lnTo>
                    <a:pt x="957554" y="1324357"/>
                  </a:lnTo>
                  <a:lnTo>
                    <a:pt x="998085" y="1305636"/>
                  </a:lnTo>
                  <a:lnTo>
                    <a:pt x="1037146" y="1284419"/>
                  </a:lnTo>
                  <a:lnTo>
                    <a:pt x="1074636" y="1260809"/>
                  </a:lnTo>
                  <a:lnTo>
                    <a:pt x="1110451" y="1234908"/>
                  </a:lnTo>
                  <a:lnTo>
                    <a:pt x="1144489" y="1206819"/>
                  </a:lnTo>
                  <a:lnTo>
                    <a:pt x="1176647" y="1176645"/>
                  </a:lnTo>
                  <a:lnTo>
                    <a:pt x="1206822" y="1144488"/>
                  </a:lnTo>
                  <a:lnTo>
                    <a:pt x="1234912" y="1110452"/>
                  </a:lnTo>
                  <a:lnTo>
                    <a:pt x="1260814" y="1074638"/>
                  </a:lnTo>
                  <a:lnTo>
                    <a:pt x="1284425" y="1037149"/>
                  </a:lnTo>
                  <a:lnTo>
                    <a:pt x="1305643" y="998088"/>
                  </a:lnTo>
                  <a:lnTo>
                    <a:pt x="1324366" y="957558"/>
                  </a:lnTo>
                  <a:lnTo>
                    <a:pt x="1340489" y="915661"/>
                  </a:lnTo>
                  <a:lnTo>
                    <a:pt x="1353911" y="872499"/>
                  </a:lnTo>
                  <a:lnTo>
                    <a:pt x="1364530" y="828177"/>
                  </a:lnTo>
                  <a:lnTo>
                    <a:pt x="1372241" y="782795"/>
                  </a:lnTo>
                  <a:lnTo>
                    <a:pt x="1376943" y="736458"/>
                  </a:lnTo>
                  <a:lnTo>
                    <a:pt x="1378534" y="689267"/>
                  </a:lnTo>
                  <a:lnTo>
                    <a:pt x="1376943" y="642074"/>
                  </a:lnTo>
                  <a:lnTo>
                    <a:pt x="1372241" y="595735"/>
                  </a:lnTo>
                  <a:lnTo>
                    <a:pt x="1364530" y="550352"/>
                  </a:lnTo>
                  <a:lnTo>
                    <a:pt x="1353911" y="506028"/>
                  </a:lnTo>
                  <a:lnTo>
                    <a:pt x="1340489" y="462866"/>
                  </a:lnTo>
                  <a:lnTo>
                    <a:pt x="1324366" y="420968"/>
                  </a:lnTo>
                  <a:lnTo>
                    <a:pt x="1305643" y="380437"/>
                  </a:lnTo>
                  <a:lnTo>
                    <a:pt x="1284425" y="341376"/>
                  </a:lnTo>
                  <a:lnTo>
                    <a:pt x="1260814" y="303886"/>
                  </a:lnTo>
                  <a:lnTo>
                    <a:pt x="1234912" y="268071"/>
                  </a:lnTo>
                  <a:lnTo>
                    <a:pt x="1206822" y="234034"/>
                  </a:lnTo>
                  <a:lnTo>
                    <a:pt x="1176647" y="201877"/>
                  </a:lnTo>
                  <a:lnTo>
                    <a:pt x="1144489" y="171703"/>
                  </a:lnTo>
                  <a:lnTo>
                    <a:pt x="1110451" y="143614"/>
                  </a:lnTo>
                  <a:lnTo>
                    <a:pt x="1074636" y="117713"/>
                  </a:lnTo>
                  <a:lnTo>
                    <a:pt x="1037146" y="94102"/>
                  </a:lnTo>
                  <a:lnTo>
                    <a:pt x="998085" y="72885"/>
                  </a:lnTo>
                  <a:lnTo>
                    <a:pt x="957554" y="54164"/>
                  </a:lnTo>
                  <a:lnTo>
                    <a:pt x="915657" y="38041"/>
                  </a:lnTo>
                  <a:lnTo>
                    <a:pt x="872496" y="24620"/>
                  </a:lnTo>
                  <a:lnTo>
                    <a:pt x="828174" y="14003"/>
                  </a:lnTo>
                  <a:lnTo>
                    <a:pt x="782793" y="6291"/>
                  </a:lnTo>
                  <a:lnTo>
                    <a:pt x="736456" y="1590"/>
                  </a:lnTo>
                  <a:lnTo>
                    <a:pt x="689267" y="0"/>
                  </a:lnTo>
                  <a:close/>
                </a:path>
              </a:pathLst>
            </a:custGeom>
            <a:solidFill>
              <a:srgbClr val="B0BFD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>
              <a:extLst>
                <a:ext uri="{FF2B5EF4-FFF2-40B4-BE49-F238E27FC236}">
                  <a16:creationId xmlns:a16="http://schemas.microsoft.com/office/drawing/2014/main" id="{D6AF5B3D-0A75-418F-7C3B-260A58FFE556}"/>
                </a:ext>
              </a:extLst>
            </p:cNvPr>
            <p:cNvSpPr/>
            <p:nvPr/>
          </p:nvSpPr>
          <p:spPr>
            <a:xfrm>
              <a:off x="6588051" y="5564432"/>
              <a:ext cx="1113790" cy="1113790"/>
            </a:xfrm>
            <a:custGeom>
              <a:avLst/>
              <a:gdLst/>
              <a:ahLst/>
              <a:cxnLst/>
              <a:rect l="l" t="t" r="r" b="b"/>
              <a:pathLst>
                <a:path w="1113790" h="1113790">
                  <a:moveTo>
                    <a:pt x="556704" y="0"/>
                  </a:moveTo>
                  <a:lnTo>
                    <a:pt x="508670" y="2043"/>
                  </a:lnTo>
                  <a:lnTo>
                    <a:pt x="461771" y="8062"/>
                  </a:lnTo>
                  <a:lnTo>
                    <a:pt x="416173" y="17890"/>
                  </a:lnTo>
                  <a:lnTo>
                    <a:pt x="372044" y="31358"/>
                  </a:lnTo>
                  <a:lnTo>
                    <a:pt x="329551" y="48302"/>
                  </a:lnTo>
                  <a:lnTo>
                    <a:pt x="288861" y="68552"/>
                  </a:lnTo>
                  <a:lnTo>
                    <a:pt x="250141" y="91942"/>
                  </a:lnTo>
                  <a:lnTo>
                    <a:pt x="213558" y="118306"/>
                  </a:lnTo>
                  <a:lnTo>
                    <a:pt x="179279" y="147475"/>
                  </a:lnTo>
                  <a:lnTo>
                    <a:pt x="147472" y="179283"/>
                  </a:lnTo>
                  <a:lnTo>
                    <a:pt x="118304" y="213563"/>
                  </a:lnTo>
                  <a:lnTo>
                    <a:pt x="91941" y="250147"/>
                  </a:lnTo>
                  <a:lnTo>
                    <a:pt x="68551" y="288869"/>
                  </a:lnTo>
                  <a:lnTo>
                    <a:pt x="48301" y="329561"/>
                  </a:lnTo>
                  <a:lnTo>
                    <a:pt x="31358" y="372056"/>
                  </a:lnTo>
                  <a:lnTo>
                    <a:pt x="17889" y="416188"/>
                  </a:lnTo>
                  <a:lnTo>
                    <a:pt x="8062" y="461789"/>
                  </a:lnTo>
                  <a:lnTo>
                    <a:pt x="2043" y="508692"/>
                  </a:lnTo>
                  <a:lnTo>
                    <a:pt x="0" y="556729"/>
                  </a:lnTo>
                  <a:lnTo>
                    <a:pt x="2043" y="604763"/>
                  </a:lnTo>
                  <a:lnTo>
                    <a:pt x="8062" y="651663"/>
                  </a:lnTo>
                  <a:lnTo>
                    <a:pt x="17889" y="697260"/>
                  </a:lnTo>
                  <a:lnTo>
                    <a:pt x="31358" y="741389"/>
                  </a:lnTo>
                  <a:lnTo>
                    <a:pt x="48301" y="783883"/>
                  </a:lnTo>
                  <a:lnTo>
                    <a:pt x="68551" y="824573"/>
                  </a:lnTo>
                  <a:lnTo>
                    <a:pt x="91941" y="863293"/>
                  </a:lnTo>
                  <a:lnTo>
                    <a:pt x="118304" y="899876"/>
                  </a:lnTo>
                  <a:lnTo>
                    <a:pt x="147472" y="934154"/>
                  </a:lnTo>
                  <a:lnTo>
                    <a:pt x="179279" y="965961"/>
                  </a:lnTo>
                  <a:lnTo>
                    <a:pt x="213558" y="995130"/>
                  </a:lnTo>
                  <a:lnTo>
                    <a:pt x="250141" y="1021492"/>
                  </a:lnTo>
                  <a:lnTo>
                    <a:pt x="288861" y="1044882"/>
                  </a:lnTo>
                  <a:lnTo>
                    <a:pt x="329551" y="1065132"/>
                  </a:lnTo>
                  <a:lnTo>
                    <a:pt x="372044" y="1082075"/>
                  </a:lnTo>
                  <a:lnTo>
                    <a:pt x="416173" y="1095544"/>
                  </a:lnTo>
                  <a:lnTo>
                    <a:pt x="461771" y="1105371"/>
                  </a:lnTo>
                  <a:lnTo>
                    <a:pt x="508670" y="1111390"/>
                  </a:lnTo>
                  <a:lnTo>
                    <a:pt x="556704" y="1113434"/>
                  </a:lnTo>
                  <a:lnTo>
                    <a:pt x="604738" y="1111390"/>
                  </a:lnTo>
                  <a:lnTo>
                    <a:pt x="651637" y="1105371"/>
                  </a:lnTo>
                  <a:lnTo>
                    <a:pt x="697235" y="1095544"/>
                  </a:lnTo>
                  <a:lnTo>
                    <a:pt x="741364" y="1082075"/>
                  </a:lnTo>
                  <a:lnTo>
                    <a:pt x="783857" y="1065132"/>
                  </a:lnTo>
                  <a:lnTo>
                    <a:pt x="824547" y="1044882"/>
                  </a:lnTo>
                  <a:lnTo>
                    <a:pt x="863267" y="1021492"/>
                  </a:lnTo>
                  <a:lnTo>
                    <a:pt x="899850" y="995130"/>
                  </a:lnTo>
                  <a:lnTo>
                    <a:pt x="934129" y="965961"/>
                  </a:lnTo>
                  <a:lnTo>
                    <a:pt x="965936" y="934154"/>
                  </a:lnTo>
                  <a:lnTo>
                    <a:pt x="995104" y="899876"/>
                  </a:lnTo>
                  <a:lnTo>
                    <a:pt x="1021467" y="863293"/>
                  </a:lnTo>
                  <a:lnTo>
                    <a:pt x="1044857" y="824573"/>
                  </a:lnTo>
                  <a:lnTo>
                    <a:pt x="1065107" y="783883"/>
                  </a:lnTo>
                  <a:lnTo>
                    <a:pt x="1082050" y="741389"/>
                  </a:lnTo>
                  <a:lnTo>
                    <a:pt x="1095519" y="697260"/>
                  </a:lnTo>
                  <a:lnTo>
                    <a:pt x="1105346" y="651663"/>
                  </a:lnTo>
                  <a:lnTo>
                    <a:pt x="1111365" y="604763"/>
                  </a:lnTo>
                  <a:lnTo>
                    <a:pt x="1113409" y="556729"/>
                  </a:lnTo>
                  <a:lnTo>
                    <a:pt x="1111365" y="508692"/>
                  </a:lnTo>
                  <a:lnTo>
                    <a:pt x="1105346" y="461789"/>
                  </a:lnTo>
                  <a:lnTo>
                    <a:pt x="1095519" y="416188"/>
                  </a:lnTo>
                  <a:lnTo>
                    <a:pt x="1082050" y="372056"/>
                  </a:lnTo>
                  <a:lnTo>
                    <a:pt x="1065107" y="329561"/>
                  </a:lnTo>
                  <a:lnTo>
                    <a:pt x="1044857" y="288869"/>
                  </a:lnTo>
                  <a:lnTo>
                    <a:pt x="1021467" y="250147"/>
                  </a:lnTo>
                  <a:lnTo>
                    <a:pt x="995104" y="213563"/>
                  </a:lnTo>
                  <a:lnTo>
                    <a:pt x="965936" y="179283"/>
                  </a:lnTo>
                  <a:lnTo>
                    <a:pt x="934129" y="147475"/>
                  </a:lnTo>
                  <a:lnTo>
                    <a:pt x="899850" y="118306"/>
                  </a:lnTo>
                  <a:lnTo>
                    <a:pt x="863267" y="91942"/>
                  </a:lnTo>
                  <a:lnTo>
                    <a:pt x="824547" y="68552"/>
                  </a:lnTo>
                  <a:lnTo>
                    <a:pt x="783857" y="48302"/>
                  </a:lnTo>
                  <a:lnTo>
                    <a:pt x="741364" y="31358"/>
                  </a:lnTo>
                  <a:lnTo>
                    <a:pt x="697235" y="17890"/>
                  </a:lnTo>
                  <a:lnTo>
                    <a:pt x="651637" y="8062"/>
                  </a:lnTo>
                  <a:lnTo>
                    <a:pt x="604738" y="2043"/>
                  </a:lnTo>
                  <a:lnTo>
                    <a:pt x="556704" y="0"/>
                  </a:lnTo>
                  <a:close/>
                </a:path>
              </a:pathLst>
            </a:custGeom>
            <a:solidFill>
              <a:srgbClr val="33549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>
              <a:extLst>
                <a:ext uri="{FF2B5EF4-FFF2-40B4-BE49-F238E27FC236}">
                  <a16:creationId xmlns:a16="http://schemas.microsoft.com/office/drawing/2014/main" id="{B0CEB085-BF43-A4C7-9F6E-FBB6D9FCE133}"/>
                </a:ext>
              </a:extLst>
            </p:cNvPr>
            <p:cNvSpPr/>
            <p:nvPr/>
          </p:nvSpPr>
          <p:spPr>
            <a:xfrm>
              <a:off x="7064959" y="5990285"/>
              <a:ext cx="330835" cy="316865"/>
            </a:xfrm>
            <a:custGeom>
              <a:avLst/>
              <a:gdLst/>
              <a:ahLst/>
              <a:cxnLst/>
              <a:rect l="l" t="t" r="r" b="b"/>
              <a:pathLst>
                <a:path w="330834" h="316864">
                  <a:moveTo>
                    <a:pt x="102349" y="317"/>
                  </a:moveTo>
                  <a:lnTo>
                    <a:pt x="4165" y="317"/>
                  </a:lnTo>
                  <a:lnTo>
                    <a:pt x="0" y="4483"/>
                  </a:lnTo>
                  <a:lnTo>
                    <a:pt x="0" y="316674"/>
                  </a:lnTo>
                  <a:lnTo>
                    <a:pt x="18618" y="316674"/>
                  </a:lnTo>
                  <a:lnTo>
                    <a:pt x="18618" y="18935"/>
                  </a:lnTo>
                  <a:lnTo>
                    <a:pt x="102349" y="18935"/>
                  </a:lnTo>
                  <a:lnTo>
                    <a:pt x="102349" y="317"/>
                  </a:lnTo>
                  <a:close/>
                </a:path>
                <a:path w="330834" h="316864">
                  <a:moveTo>
                    <a:pt x="120967" y="242201"/>
                  </a:moveTo>
                  <a:lnTo>
                    <a:pt x="46532" y="242201"/>
                  </a:lnTo>
                  <a:lnTo>
                    <a:pt x="46532" y="260819"/>
                  </a:lnTo>
                  <a:lnTo>
                    <a:pt x="120967" y="260819"/>
                  </a:lnTo>
                  <a:lnTo>
                    <a:pt x="120967" y="242201"/>
                  </a:lnTo>
                  <a:close/>
                </a:path>
                <a:path w="330834" h="316864">
                  <a:moveTo>
                    <a:pt x="139585" y="205003"/>
                  </a:moveTo>
                  <a:lnTo>
                    <a:pt x="46532" y="205003"/>
                  </a:lnTo>
                  <a:lnTo>
                    <a:pt x="46532" y="223608"/>
                  </a:lnTo>
                  <a:lnTo>
                    <a:pt x="139585" y="223608"/>
                  </a:lnTo>
                  <a:lnTo>
                    <a:pt x="139585" y="205003"/>
                  </a:lnTo>
                  <a:close/>
                </a:path>
                <a:path w="330834" h="316864">
                  <a:moveTo>
                    <a:pt x="330276" y="5080"/>
                  </a:moveTo>
                  <a:lnTo>
                    <a:pt x="328345" y="5080"/>
                  </a:lnTo>
                  <a:lnTo>
                    <a:pt x="328345" y="0"/>
                  </a:lnTo>
                  <a:lnTo>
                    <a:pt x="190690" y="0"/>
                  </a:lnTo>
                  <a:lnTo>
                    <a:pt x="190690" y="19050"/>
                  </a:lnTo>
                  <a:lnTo>
                    <a:pt x="190690" y="83820"/>
                  </a:lnTo>
                  <a:lnTo>
                    <a:pt x="153492" y="83820"/>
                  </a:lnTo>
                  <a:lnTo>
                    <a:pt x="153492" y="19050"/>
                  </a:lnTo>
                  <a:lnTo>
                    <a:pt x="190690" y="19050"/>
                  </a:lnTo>
                  <a:lnTo>
                    <a:pt x="190690" y="0"/>
                  </a:lnTo>
                  <a:lnTo>
                    <a:pt x="134874" y="0"/>
                  </a:lnTo>
                  <a:lnTo>
                    <a:pt x="134874" y="5080"/>
                  </a:lnTo>
                  <a:lnTo>
                    <a:pt x="134874" y="19050"/>
                  </a:lnTo>
                  <a:lnTo>
                    <a:pt x="134874" y="83820"/>
                  </a:lnTo>
                  <a:lnTo>
                    <a:pt x="134874" y="102870"/>
                  </a:lnTo>
                  <a:lnTo>
                    <a:pt x="209308" y="102870"/>
                  </a:lnTo>
                  <a:lnTo>
                    <a:pt x="209308" y="84048"/>
                  </a:lnTo>
                  <a:lnTo>
                    <a:pt x="209308" y="83820"/>
                  </a:lnTo>
                  <a:lnTo>
                    <a:pt x="209308" y="19050"/>
                  </a:lnTo>
                  <a:lnTo>
                    <a:pt x="311683" y="19050"/>
                  </a:lnTo>
                  <a:lnTo>
                    <a:pt x="311683" y="298450"/>
                  </a:lnTo>
                  <a:lnTo>
                    <a:pt x="51142" y="298450"/>
                  </a:lnTo>
                  <a:lnTo>
                    <a:pt x="51142" y="312420"/>
                  </a:lnTo>
                  <a:lnTo>
                    <a:pt x="51142" y="316230"/>
                  </a:lnTo>
                  <a:lnTo>
                    <a:pt x="328447" y="316230"/>
                  </a:lnTo>
                  <a:lnTo>
                    <a:pt x="328447" y="312420"/>
                  </a:lnTo>
                  <a:lnTo>
                    <a:pt x="330276" y="312420"/>
                  </a:lnTo>
                  <a:lnTo>
                    <a:pt x="330276" y="298450"/>
                  </a:lnTo>
                  <a:lnTo>
                    <a:pt x="330276" y="19050"/>
                  </a:lnTo>
                  <a:lnTo>
                    <a:pt x="330276" y="508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>
              <a:extLst>
                <a:ext uri="{FF2B5EF4-FFF2-40B4-BE49-F238E27FC236}">
                  <a16:creationId xmlns:a16="http://schemas.microsoft.com/office/drawing/2014/main" id="{2C5FE8C8-FD61-5A5B-814E-7F9362F0DB75}"/>
                </a:ext>
              </a:extLst>
            </p:cNvPr>
            <p:cNvSpPr/>
            <p:nvPr/>
          </p:nvSpPr>
          <p:spPr>
            <a:xfrm>
              <a:off x="6734582" y="5812020"/>
              <a:ext cx="88900" cy="88900"/>
            </a:xfrm>
            <a:custGeom>
              <a:avLst/>
              <a:gdLst/>
              <a:ahLst/>
              <a:cxnLst/>
              <a:rect l="l" t="t" r="r" b="b"/>
              <a:pathLst>
                <a:path w="88900" h="88900">
                  <a:moveTo>
                    <a:pt x="41808" y="88569"/>
                  </a:moveTo>
                  <a:lnTo>
                    <a:pt x="0" y="88569"/>
                  </a:lnTo>
                </a:path>
                <a:path w="88900" h="88900">
                  <a:moveTo>
                    <a:pt x="55499" y="55498"/>
                  </a:moveTo>
                  <a:lnTo>
                    <a:pt x="25946" y="25946"/>
                  </a:lnTo>
                </a:path>
                <a:path w="88900" h="88900">
                  <a:moveTo>
                    <a:pt x="88569" y="41808"/>
                  </a:moveTo>
                  <a:lnTo>
                    <a:pt x="88569" y="0"/>
                  </a:lnTo>
                </a:path>
              </a:pathLst>
            </a:custGeom>
            <a:ln w="2312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>
              <a:extLst>
                <a:ext uri="{FF2B5EF4-FFF2-40B4-BE49-F238E27FC236}">
                  <a16:creationId xmlns:a16="http://schemas.microsoft.com/office/drawing/2014/main" id="{73505ED0-6DFC-4EB2-AB54-2656528F86EB}"/>
                </a:ext>
              </a:extLst>
            </p:cNvPr>
            <p:cNvSpPr/>
            <p:nvPr/>
          </p:nvSpPr>
          <p:spPr>
            <a:xfrm>
              <a:off x="6818459" y="5900163"/>
              <a:ext cx="1237615" cy="1209040"/>
            </a:xfrm>
            <a:custGeom>
              <a:avLst/>
              <a:gdLst/>
              <a:ahLst/>
              <a:cxnLst/>
              <a:rect l="l" t="t" r="r" b="b"/>
              <a:pathLst>
                <a:path w="1237615" h="1209040">
                  <a:moveTo>
                    <a:pt x="897267" y="788885"/>
                  </a:moveTo>
                  <a:lnTo>
                    <a:pt x="792098" y="788885"/>
                  </a:lnTo>
                  <a:lnTo>
                    <a:pt x="867435" y="944575"/>
                  </a:lnTo>
                  <a:lnTo>
                    <a:pt x="856703" y="1044028"/>
                  </a:lnTo>
                  <a:lnTo>
                    <a:pt x="1237183" y="1044028"/>
                  </a:lnTo>
                  <a:lnTo>
                    <a:pt x="1237411" y="1209027"/>
                  </a:lnTo>
                  <a:lnTo>
                    <a:pt x="1236560" y="557047"/>
                  </a:lnTo>
                  <a:lnTo>
                    <a:pt x="1228228" y="512381"/>
                  </a:lnTo>
                  <a:lnTo>
                    <a:pt x="1204721" y="473964"/>
                  </a:lnTo>
                  <a:lnTo>
                    <a:pt x="1061580" y="315518"/>
                  </a:lnTo>
                  <a:lnTo>
                    <a:pt x="1204721" y="473964"/>
                  </a:lnTo>
                </a:path>
                <a:path w="1237615" h="1209040">
                  <a:moveTo>
                    <a:pt x="557326" y="521411"/>
                  </a:moveTo>
                  <a:lnTo>
                    <a:pt x="596099" y="521411"/>
                  </a:lnTo>
                  <a:lnTo>
                    <a:pt x="717346" y="521411"/>
                  </a:lnTo>
                  <a:lnTo>
                    <a:pt x="781735" y="585978"/>
                  </a:lnTo>
                  <a:lnTo>
                    <a:pt x="794304" y="592592"/>
                  </a:lnTo>
                  <a:lnTo>
                    <a:pt x="807454" y="591078"/>
                  </a:lnTo>
                  <a:lnTo>
                    <a:pt x="817817" y="582832"/>
                  </a:lnTo>
                  <a:lnTo>
                    <a:pt x="822020" y="569252"/>
                  </a:lnTo>
                  <a:lnTo>
                    <a:pt x="822020" y="486410"/>
                  </a:lnTo>
                  <a:lnTo>
                    <a:pt x="822020" y="423786"/>
                  </a:lnTo>
                  <a:lnTo>
                    <a:pt x="822020" y="78041"/>
                  </a:lnTo>
                  <a:lnTo>
                    <a:pt x="791695" y="71908"/>
                  </a:lnTo>
                  <a:lnTo>
                    <a:pt x="766933" y="55184"/>
                  </a:lnTo>
                  <a:lnTo>
                    <a:pt x="750239" y="30378"/>
                  </a:lnTo>
                  <a:lnTo>
                    <a:pt x="744118" y="0"/>
                  </a:lnTo>
                  <a:lnTo>
                    <a:pt x="528281" y="0"/>
                  </a:lnTo>
                  <a:lnTo>
                    <a:pt x="507771" y="0"/>
                  </a:lnTo>
                  <a:lnTo>
                    <a:pt x="34963" y="0"/>
                  </a:lnTo>
                  <a:lnTo>
                    <a:pt x="21350" y="2751"/>
                  </a:lnTo>
                  <a:lnTo>
                    <a:pt x="10237" y="10255"/>
                  </a:lnTo>
                  <a:lnTo>
                    <a:pt x="2746" y="21388"/>
                  </a:lnTo>
                  <a:lnTo>
                    <a:pt x="0" y="35026"/>
                  </a:lnTo>
                  <a:lnTo>
                    <a:pt x="0" y="486410"/>
                  </a:lnTo>
                  <a:lnTo>
                    <a:pt x="2746" y="500033"/>
                  </a:lnTo>
                  <a:lnTo>
                    <a:pt x="10237" y="511159"/>
                  </a:lnTo>
                  <a:lnTo>
                    <a:pt x="21350" y="518660"/>
                  </a:lnTo>
                  <a:lnTo>
                    <a:pt x="34963" y="521411"/>
                  </a:lnTo>
                  <a:lnTo>
                    <a:pt x="423646" y="521411"/>
                  </a:lnTo>
                  <a:lnTo>
                    <a:pt x="480110" y="521411"/>
                  </a:lnTo>
                  <a:lnTo>
                    <a:pt x="557326" y="521411"/>
                  </a:lnTo>
                  <a:close/>
                </a:path>
              </a:pathLst>
            </a:custGeom>
            <a:ln w="2312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5" name="object 13">
              <a:extLst>
                <a:ext uri="{FF2B5EF4-FFF2-40B4-BE49-F238E27FC236}">
                  <a16:creationId xmlns:a16="http://schemas.microsoft.com/office/drawing/2014/main" id="{130BF31E-0DE8-8B79-7344-094ADFFD091C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7230365" y="6410012"/>
              <a:ext cx="195757" cy="223799"/>
            </a:xfrm>
            <a:prstGeom prst="rect">
              <a:avLst/>
            </a:prstGeom>
          </p:spPr>
        </p:pic>
        <p:sp>
          <p:nvSpPr>
            <p:cNvPr id="16" name="object 14">
              <a:extLst>
                <a:ext uri="{FF2B5EF4-FFF2-40B4-BE49-F238E27FC236}">
                  <a16:creationId xmlns:a16="http://schemas.microsoft.com/office/drawing/2014/main" id="{0188366B-42AD-4A44-4C16-DB713BECF9AC}"/>
                </a:ext>
              </a:extLst>
            </p:cNvPr>
            <p:cNvSpPr/>
            <p:nvPr/>
          </p:nvSpPr>
          <p:spPr>
            <a:xfrm>
              <a:off x="7709260" y="6089890"/>
              <a:ext cx="314325" cy="713740"/>
            </a:xfrm>
            <a:custGeom>
              <a:avLst/>
              <a:gdLst/>
              <a:ahLst/>
              <a:cxnLst/>
              <a:rect l="l" t="t" r="r" b="b"/>
              <a:pathLst>
                <a:path w="314325" h="713740">
                  <a:moveTo>
                    <a:pt x="313921" y="284238"/>
                  </a:moveTo>
                  <a:lnTo>
                    <a:pt x="170780" y="125793"/>
                  </a:lnTo>
                  <a:lnTo>
                    <a:pt x="150269" y="103085"/>
                  </a:lnTo>
                  <a:lnTo>
                    <a:pt x="123167" y="73101"/>
                  </a:lnTo>
                  <a:lnTo>
                    <a:pt x="116906" y="78905"/>
                  </a:lnTo>
                  <a:lnTo>
                    <a:pt x="103318" y="87114"/>
                  </a:lnTo>
                  <a:lnTo>
                    <a:pt x="88260" y="89155"/>
                  </a:lnTo>
                  <a:lnTo>
                    <a:pt x="73570" y="85150"/>
                  </a:lnTo>
                  <a:lnTo>
                    <a:pt x="61090" y="75222"/>
                  </a:lnTo>
                  <a:lnTo>
                    <a:pt x="46167" y="57365"/>
                  </a:lnTo>
                  <a:lnTo>
                    <a:pt x="41724" y="49180"/>
                  </a:lnTo>
                  <a:lnTo>
                    <a:pt x="40771" y="40174"/>
                  </a:lnTo>
                  <a:lnTo>
                    <a:pt x="43211" y="31471"/>
                  </a:lnTo>
                  <a:lnTo>
                    <a:pt x="48948" y="24193"/>
                  </a:lnTo>
                  <a:lnTo>
                    <a:pt x="65992" y="9804"/>
                  </a:lnTo>
                  <a:lnTo>
                    <a:pt x="123078" y="72999"/>
                  </a:lnTo>
                  <a:lnTo>
                    <a:pt x="57127" y="0"/>
                  </a:lnTo>
                  <a:lnTo>
                    <a:pt x="5029" y="48008"/>
                  </a:lnTo>
                  <a:lnTo>
                    <a:pt x="0" y="106411"/>
                  </a:lnTo>
                  <a:lnTo>
                    <a:pt x="16044" y="155735"/>
                  </a:lnTo>
                  <a:lnTo>
                    <a:pt x="27168" y="176504"/>
                  </a:lnTo>
                  <a:lnTo>
                    <a:pt x="134115" y="327228"/>
                  </a:lnTo>
                  <a:lnTo>
                    <a:pt x="114967" y="382063"/>
                  </a:lnTo>
                  <a:lnTo>
                    <a:pt x="103026" y="433314"/>
                  </a:lnTo>
                  <a:lnTo>
                    <a:pt x="97281" y="480815"/>
                  </a:lnTo>
                  <a:lnTo>
                    <a:pt x="96720" y="524400"/>
                  </a:lnTo>
                  <a:lnTo>
                    <a:pt x="100331" y="563904"/>
                  </a:lnTo>
                  <a:lnTo>
                    <a:pt x="108854" y="606323"/>
                  </a:lnTo>
                  <a:lnTo>
                    <a:pt x="127636" y="659753"/>
                  </a:lnTo>
                  <a:lnTo>
                    <a:pt x="153924" y="707054"/>
                  </a:lnTo>
                  <a:lnTo>
                    <a:pt x="158486" y="713181"/>
                  </a:lnTo>
                </a:path>
              </a:pathLst>
            </a:custGeom>
            <a:ln w="2312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5">
              <a:extLst>
                <a:ext uri="{FF2B5EF4-FFF2-40B4-BE49-F238E27FC236}">
                  <a16:creationId xmlns:a16="http://schemas.microsoft.com/office/drawing/2014/main" id="{FAE6919E-A371-C019-2C79-56B5A2EE8489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7314667" y="6608348"/>
              <a:ext cx="187439" cy="92265"/>
            </a:xfrm>
            <a:prstGeom prst="rect">
              <a:avLst/>
            </a:prstGeom>
          </p:spPr>
        </p:pic>
        <p:sp>
          <p:nvSpPr>
            <p:cNvPr id="20" name="object 16">
              <a:extLst>
                <a:ext uri="{FF2B5EF4-FFF2-40B4-BE49-F238E27FC236}">
                  <a16:creationId xmlns:a16="http://schemas.microsoft.com/office/drawing/2014/main" id="{7DFCDA24-2FBA-9A3E-CCAD-B4CDE42D3B1A}"/>
                </a:ext>
              </a:extLst>
            </p:cNvPr>
            <p:cNvSpPr/>
            <p:nvPr/>
          </p:nvSpPr>
          <p:spPr>
            <a:xfrm>
              <a:off x="7326231" y="5700025"/>
              <a:ext cx="554355" cy="1103630"/>
            </a:xfrm>
            <a:custGeom>
              <a:avLst/>
              <a:gdLst/>
              <a:ahLst/>
              <a:cxnLst/>
              <a:rect l="l" t="t" r="r" b="b"/>
              <a:pathLst>
                <a:path w="554354" h="1103629">
                  <a:moveTo>
                    <a:pt x="495744" y="1009586"/>
                  </a:moveTo>
                  <a:lnTo>
                    <a:pt x="493763" y="1003033"/>
                  </a:lnTo>
                  <a:lnTo>
                    <a:pt x="491883" y="996188"/>
                  </a:lnTo>
                  <a:lnTo>
                    <a:pt x="490131" y="989025"/>
                  </a:lnTo>
                  <a:lnTo>
                    <a:pt x="389496" y="989025"/>
                  </a:lnTo>
                </a:path>
                <a:path w="554354" h="1103629">
                  <a:moveTo>
                    <a:pt x="0" y="200139"/>
                  </a:moveTo>
                  <a:lnTo>
                    <a:pt x="20510" y="200139"/>
                  </a:lnTo>
                  <a:lnTo>
                    <a:pt x="20510" y="83197"/>
                  </a:lnTo>
                  <a:lnTo>
                    <a:pt x="20510" y="59702"/>
                  </a:lnTo>
                  <a:lnTo>
                    <a:pt x="20510" y="29095"/>
                  </a:lnTo>
                  <a:lnTo>
                    <a:pt x="22036" y="19758"/>
                  </a:lnTo>
                  <a:lnTo>
                    <a:pt x="46545" y="0"/>
                  </a:lnTo>
                  <a:lnTo>
                    <a:pt x="49555" y="0"/>
                  </a:lnTo>
                  <a:lnTo>
                    <a:pt x="504253" y="0"/>
                  </a:lnTo>
                  <a:lnTo>
                    <a:pt x="515553" y="2285"/>
                  </a:lnTo>
                  <a:lnTo>
                    <a:pt x="524786" y="8518"/>
                  </a:lnTo>
                  <a:lnTo>
                    <a:pt x="531013" y="17766"/>
                  </a:lnTo>
                  <a:lnTo>
                    <a:pt x="533298" y="29095"/>
                  </a:lnTo>
                  <a:lnTo>
                    <a:pt x="533298" y="59702"/>
                  </a:lnTo>
                  <a:lnTo>
                    <a:pt x="533298" y="83197"/>
                  </a:lnTo>
                  <a:lnTo>
                    <a:pt x="533298" y="492950"/>
                  </a:lnTo>
                  <a:lnTo>
                    <a:pt x="553808" y="515658"/>
                  </a:lnTo>
                </a:path>
                <a:path w="554354" h="1103629">
                  <a:moveTo>
                    <a:pt x="490131" y="989025"/>
                  </a:moveTo>
                  <a:lnTo>
                    <a:pt x="483360" y="953769"/>
                  </a:lnTo>
                  <a:lnTo>
                    <a:pt x="479749" y="914265"/>
                  </a:lnTo>
                  <a:lnTo>
                    <a:pt x="480310" y="870680"/>
                  </a:lnTo>
                  <a:lnTo>
                    <a:pt x="486055" y="823179"/>
                  </a:lnTo>
                  <a:lnTo>
                    <a:pt x="497996" y="771928"/>
                  </a:lnTo>
                  <a:lnTo>
                    <a:pt x="517143" y="717092"/>
                  </a:lnTo>
                  <a:lnTo>
                    <a:pt x="410197" y="566369"/>
                  </a:lnTo>
                  <a:lnTo>
                    <a:pt x="364295" y="491566"/>
                  </a:lnTo>
                  <a:lnTo>
                    <a:pt x="352115" y="448246"/>
                  </a:lnTo>
                  <a:lnTo>
                    <a:pt x="376466" y="419861"/>
                  </a:lnTo>
                  <a:lnTo>
                    <a:pt x="440156" y="389864"/>
                  </a:lnTo>
                  <a:lnTo>
                    <a:pt x="506107" y="462864"/>
                  </a:lnTo>
                  <a:lnTo>
                    <a:pt x="533298" y="492950"/>
                  </a:lnTo>
                  <a:lnTo>
                    <a:pt x="533298" y="83197"/>
                  </a:lnTo>
                  <a:lnTo>
                    <a:pt x="533298" y="59702"/>
                  </a:lnTo>
                  <a:lnTo>
                    <a:pt x="533298" y="29095"/>
                  </a:lnTo>
                  <a:lnTo>
                    <a:pt x="531013" y="17766"/>
                  </a:lnTo>
                  <a:lnTo>
                    <a:pt x="524786" y="8518"/>
                  </a:lnTo>
                  <a:lnTo>
                    <a:pt x="515553" y="2285"/>
                  </a:lnTo>
                  <a:lnTo>
                    <a:pt x="504253" y="0"/>
                  </a:lnTo>
                  <a:lnTo>
                    <a:pt x="49555" y="0"/>
                  </a:lnTo>
                  <a:lnTo>
                    <a:pt x="46545" y="0"/>
                  </a:lnTo>
                  <a:lnTo>
                    <a:pt x="20510" y="29095"/>
                  </a:lnTo>
                  <a:lnTo>
                    <a:pt x="20510" y="59702"/>
                  </a:lnTo>
                  <a:lnTo>
                    <a:pt x="20510" y="83197"/>
                  </a:lnTo>
                  <a:lnTo>
                    <a:pt x="20510" y="200139"/>
                  </a:lnTo>
                  <a:lnTo>
                    <a:pt x="236346" y="200139"/>
                  </a:lnTo>
                  <a:lnTo>
                    <a:pt x="242468" y="169760"/>
                  </a:lnTo>
                  <a:lnTo>
                    <a:pt x="259162" y="144954"/>
                  </a:lnTo>
                  <a:lnTo>
                    <a:pt x="283924" y="128230"/>
                  </a:lnTo>
                  <a:lnTo>
                    <a:pt x="314248" y="122097"/>
                  </a:lnTo>
                  <a:lnTo>
                    <a:pt x="344565" y="128230"/>
                  </a:lnTo>
                  <a:lnTo>
                    <a:pt x="369323" y="144954"/>
                  </a:lnTo>
                  <a:lnTo>
                    <a:pt x="386016" y="169760"/>
                  </a:lnTo>
                  <a:lnTo>
                    <a:pt x="392137" y="200139"/>
                  </a:lnTo>
                  <a:lnTo>
                    <a:pt x="386016" y="230517"/>
                  </a:lnTo>
                  <a:lnTo>
                    <a:pt x="369323" y="255323"/>
                  </a:lnTo>
                  <a:lnTo>
                    <a:pt x="344565" y="272048"/>
                  </a:lnTo>
                  <a:lnTo>
                    <a:pt x="314248" y="278180"/>
                  </a:lnTo>
                  <a:lnTo>
                    <a:pt x="314248" y="623925"/>
                  </a:lnTo>
                  <a:lnTo>
                    <a:pt x="314248" y="686549"/>
                  </a:lnTo>
                  <a:lnTo>
                    <a:pt x="314248" y="769391"/>
                  </a:lnTo>
                  <a:lnTo>
                    <a:pt x="310045" y="782972"/>
                  </a:lnTo>
                  <a:lnTo>
                    <a:pt x="299683" y="791217"/>
                  </a:lnTo>
                  <a:lnTo>
                    <a:pt x="286532" y="792731"/>
                  </a:lnTo>
                  <a:lnTo>
                    <a:pt x="273964" y="786117"/>
                  </a:lnTo>
                  <a:lnTo>
                    <a:pt x="209575" y="721550"/>
                  </a:lnTo>
                  <a:lnTo>
                    <a:pt x="88328" y="721550"/>
                  </a:lnTo>
                  <a:lnTo>
                    <a:pt x="84983" y="746447"/>
                  </a:lnTo>
                  <a:lnTo>
                    <a:pt x="73085" y="767441"/>
                  </a:lnTo>
                  <a:lnTo>
                    <a:pt x="54438" y="782597"/>
                  </a:lnTo>
                  <a:lnTo>
                    <a:pt x="30848" y="789978"/>
                  </a:lnTo>
                  <a:lnTo>
                    <a:pt x="52013" y="796419"/>
                  </a:lnTo>
                  <a:lnTo>
                    <a:pt x="69627" y="809016"/>
                  </a:lnTo>
                  <a:lnTo>
                    <a:pt x="82194" y="826570"/>
                  </a:lnTo>
                  <a:lnTo>
                    <a:pt x="88214" y="847877"/>
                  </a:lnTo>
                  <a:lnTo>
                    <a:pt x="85480" y="874262"/>
                  </a:lnTo>
                  <a:lnTo>
                    <a:pt x="73191" y="896472"/>
                  </a:lnTo>
                  <a:lnTo>
                    <a:pt x="53447" y="912240"/>
                  </a:lnTo>
                  <a:lnTo>
                    <a:pt x="28346" y="919302"/>
                  </a:lnTo>
                  <a:lnTo>
                    <a:pt x="20510" y="919886"/>
                  </a:lnTo>
                  <a:lnTo>
                    <a:pt x="20510" y="929322"/>
                  </a:lnTo>
                  <a:lnTo>
                    <a:pt x="20510" y="959929"/>
                  </a:lnTo>
                  <a:lnTo>
                    <a:pt x="20510" y="966965"/>
                  </a:lnTo>
                  <a:lnTo>
                    <a:pt x="23012" y="973416"/>
                  </a:lnTo>
                  <a:lnTo>
                    <a:pt x="27152" y="978433"/>
                  </a:lnTo>
                  <a:lnTo>
                    <a:pt x="28320" y="979868"/>
                  </a:lnTo>
                  <a:lnTo>
                    <a:pt x="29641" y="981189"/>
                  </a:lnTo>
                  <a:lnTo>
                    <a:pt x="31076" y="982383"/>
                  </a:lnTo>
                  <a:lnTo>
                    <a:pt x="34658" y="985354"/>
                  </a:lnTo>
                  <a:lnTo>
                    <a:pt x="38963" y="987475"/>
                  </a:lnTo>
                  <a:lnTo>
                    <a:pt x="43700" y="988428"/>
                  </a:lnTo>
                  <a:lnTo>
                    <a:pt x="45605" y="988822"/>
                  </a:lnTo>
                  <a:lnTo>
                    <a:pt x="47548" y="989025"/>
                  </a:lnTo>
                  <a:lnTo>
                    <a:pt x="49555" y="989025"/>
                  </a:lnTo>
                  <a:lnTo>
                    <a:pt x="164312" y="989025"/>
                  </a:lnTo>
                  <a:lnTo>
                    <a:pt x="164312" y="951547"/>
                  </a:lnTo>
                  <a:lnTo>
                    <a:pt x="253479" y="951547"/>
                  </a:lnTo>
                  <a:lnTo>
                    <a:pt x="268096" y="951547"/>
                  </a:lnTo>
                  <a:lnTo>
                    <a:pt x="285699" y="951547"/>
                  </a:lnTo>
                  <a:lnTo>
                    <a:pt x="300329" y="951547"/>
                  </a:lnTo>
                  <a:lnTo>
                    <a:pt x="389496" y="951547"/>
                  </a:lnTo>
                  <a:lnTo>
                    <a:pt x="389496" y="989025"/>
                  </a:lnTo>
                  <a:lnTo>
                    <a:pt x="490131" y="989025"/>
                  </a:lnTo>
                  <a:close/>
                </a:path>
                <a:path w="554354" h="1103629">
                  <a:moveTo>
                    <a:pt x="389496" y="989025"/>
                  </a:moveTo>
                  <a:lnTo>
                    <a:pt x="389496" y="951547"/>
                  </a:lnTo>
                  <a:lnTo>
                    <a:pt x="300329" y="951547"/>
                  </a:lnTo>
                  <a:lnTo>
                    <a:pt x="296265" y="955357"/>
                  </a:lnTo>
                  <a:lnTo>
                    <a:pt x="291249" y="958176"/>
                  </a:lnTo>
                  <a:lnTo>
                    <a:pt x="285699" y="959662"/>
                  </a:lnTo>
                  <a:lnTo>
                    <a:pt x="285699" y="951547"/>
                  </a:lnTo>
                  <a:lnTo>
                    <a:pt x="268096" y="951547"/>
                  </a:lnTo>
                  <a:lnTo>
                    <a:pt x="268096" y="959662"/>
                  </a:lnTo>
                  <a:lnTo>
                    <a:pt x="262547" y="958176"/>
                  </a:lnTo>
                  <a:lnTo>
                    <a:pt x="257555" y="955357"/>
                  </a:lnTo>
                  <a:lnTo>
                    <a:pt x="253479" y="951547"/>
                  </a:lnTo>
                  <a:lnTo>
                    <a:pt x="164312" y="951547"/>
                  </a:lnTo>
                  <a:lnTo>
                    <a:pt x="164312" y="989025"/>
                  </a:lnTo>
                  <a:lnTo>
                    <a:pt x="284327" y="989025"/>
                  </a:lnTo>
                  <a:lnTo>
                    <a:pt x="389496" y="989025"/>
                  </a:lnTo>
                  <a:close/>
                </a:path>
                <a:path w="554354" h="1103629">
                  <a:moveTo>
                    <a:pt x="541515" y="1103045"/>
                  </a:moveTo>
                  <a:lnTo>
                    <a:pt x="525412" y="1082918"/>
                  </a:lnTo>
                  <a:lnTo>
                    <a:pt x="515277" y="1066474"/>
                  </a:lnTo>
                  <a:lnTo>
                    <a:pt x="506818" y="1044951"/>
                  </a:lnTo>
                  <a:lnTo>
                    <a:pt x="495744" y="1009586"/>
                  </a:lnTo>
                </a:path>
                <a:path w="554354" h="1103629">
                  <a:moveTo>
                    <a:pt x="43700" y="988428"/>
                  </a:moveTo>
                  <a:lnTo>
                    <a:pt x="38963" y="987475"/>
                  </a:lnTo>
                  <a:lnTo>
                    <a:pt x="34658" y="985354"/>
                  </a:lnTo>
                  <a:lnTo>
                    <a:pt x="31076" y="982383"/>
                  </a:lnTo>
                  <a:lnTo>
                    <a:pt x="34658" y="985354"/>
                  </a:lnTo>
                  <a:lnTo>
                    <a:pt x="38963" y="987475"/>
                  </a:lnTo>
                  <a:lnTo>
                    <a:pt x="43700" y="988428"/>
                  </a:lnTo>
                  <a:close/>
                </a:path>
                <a:path w="554354" h="1103629">
                  <a:moveTo>
                    <a:pt x="20510" y="959929"/>
                  </a:moveTo>
                  <a:lnTo>
                    <a:pt x="20510" y="966965"/>
                  </a:lnTo>
                  <a:lnTo>
                    <a:pt x="23012" y="973416"/>
                  </a:lnTo>
                  <a:lnTo>
                    <a:pt x="27152" y="978433"/>
                  </a:lnTo>
                  <a:lnTo>
                    <a:pt x="23012" y="973416"/>
                  </a:lnTo>
                  <a:lnTo>
                    <a:pt x="20510" y="966965"/>
                  </a:lnTo>
                  <a:lnTo>
                    <a:pt x="20510" y="959929"/>
                  </a:lnTo>
                  <a:close/>
                </a:path>
                <a:path w="554354" h="1103629">
                  <a:moveTo>
                    <a:pt x="49555" y="989025"/>
                  </a:moveTo>
                  <a:lnTo>
                    <a:pt x="47548" y="989025"/>
                  </a:lnTo>
                  <a:lnTo>
                    <a:pt x="45605" y="988822"/>
                  </a:lnTo>
                  <a:lnTo>
                    <a:pt x="43700" y="988428"/>
                  </a:lnTo>
                  <a:lnTo>
                    <a:pt x="45605" y="988822"/>
                  </a:lnTo>
                  <a:lnTo>
                    <a:pt x="47548" y="989025"/>
                  </a:lnTo>
                  <a:lnTo>
                    <a:pt x="49555" y="989025"/>
                  </a:lnTo>
                  <a:close/>
                </a:path>
              </a:pathLst>
            </a:custGeom>
            <a:ln w="2312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17">
              <a:extLst>
                <a:ext uri="{FF2B5EF4-FFF2-40B4-BE49-F238E27FC236}">
                  <a16:creationId xmlns:a16="http://schemas.microsoft.com/office/drawing/2014/main" id="{C6A34F08-A1D3-0389-1F40-C1F11A068C9E}"/>
                </a:ext>
              </a:extLst>
            </p:cNvPr>
            <p:cNvSpPr/>
            <p:nvPr/>
          </p:nvSpPr>
          <p:spPr>
            <a:xfrm>
              <a:off x="7614639" y="5873900"/>
              <a:ext cx="58419" cy="40005"/>
            </a:xfrm>
            <a:custGeom>
              <a:avLst/>
              <a:gdLst/>
              <a:ahLst/>
              <a:cxnLst/>
              <a:rect l="l" t="t" r="r" b="b"/>
              <a:pathLst>
                <a:path w="58420" h="40004">
                  <a:moveTo>
                    <a:pt x="0" y="27050"/>
                  </a:moveTo>
                  <a:lnTo>
                    <a:pt x="13868" y="39496"/>
                  </a:lnTo>
                  <a:lnTo>
                    <a:pt x="57873" y="0"/>
                  </a:lnTo>
                </a:path>
              </a:pathLst>
            </a:custGeom>
            <a:ln w="2312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3" name="object 9">
            <a:extLst>
              <a:ext uri="{FF2B5EF4-FFF2-40B4-BE49-F238E27FC236}">
                <a16:creationId xmlns:a16="http://schemas.microsoft.com/office/drawing/2014/main" id="{9CB90AFA-D4BC-0830-08B5-B4A3FEDAE958}"/>
              </a:ext>
            </a:extLst>
          </p:cNvPr>
          <p:cNvSpPr txBox="1"/>
          <p:nvPr/>
        </p:nvSpPr>
        <p:spPr>
          <a:xfrm>
            <a:off x="8930282" y="5126998"/>
            <a:ext cx="2462066" cy="9799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897" tIns="46949" rIns="93897" bIns="46949" numCol="1" anchor="ctr" anchorCtr="0" compatLnSpc="1">
            <a:prstTxWarp prst="textNoShape">
              <a:avLst/>
            </a:prstTxWarp>
            <a:spAutoFit/>
          </a:bodyPr>
          <a:lstStyle>
            <a:defPPr>
              <a:defRPr kern="0"/>
            </a:defPPr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sz="1050" b="0">
                <a:solidFill>
                  <a:schemeClr val="tx1"/>
                </a:solidFill>
                <a:latin typeface="AP Type Text" panose="020B0503030202060203" pitchFamily="34" charset="0"/>
                <a:ea typeface="+mn-ea"/>
                <a:cs typeface="Segoe UI" panose="020B0502040204020203" pitchFamily="34" charset="0"/>
              </a:defRPr>
            </a:lvl1pPr>
            <a:lvl2pPr marL="457162">
              <a:defRPr>
                <a:latin typeface="+mn-lt"/>
                <a:ea typeface="+mn-ea"/>
                <a:cs typeface="+mn-cs"/>
              </a:defRPr>
            </a:lvl2pPr>
            <a:lvl3pPr marL="914326">
              <a:defRPr>
                <a:latin typeface="+mn-lt"/>
                <a:ea typeface="+mn-ea"/>
                <a:cs typeface="+mn-cs"/>
              </a:defRPr>
            </a:lvl3pPr>
            <a:lvl4pPr marL="1371488">
              <a:defRPr>
                <a:latin typeface="+mn-lt"/>
                <a:ea typeface="+mn-ea"/>
                <a:cs typeface="+mn-cs"/>
              </a:defRPr>
            </a:lvl4pPr>
            <a:lvl5pPr marL="1828650">
              <a:defRPr>
                <a:latin typeface="+mn-lt"/>
                <a:ea typeface="+mn-ea"/>
                <a:cs typeface="+mn-cs"/>
              </a:defRPr>
            </a:lvl5pPr>
            <a:lvl6pPr marL="2285813">
              <a:defRPr>
                <a:latin typeface="+mn-lt"/>
                <a:ea typeface="+mn-ea"/>
                <a:cs typeface="+mn-cs"/>
              </a:defRPr>
            </a:lvl6pPr>
            <a:lvl7pPr marL="2742975">
              <a:defRPr>
                <a:latin typeface="+mn-lt"/>
                <a:ea typeface="+mn-ea"/>
                <a:cs typeface="+mn-cs"/>
              </a:defRPr>
            </a:lvl7pPr>
            <a:lvl8pPr marL="3200138">
              <a:defRPr>
                <a:latin typeface="+mn-lt"/>
                <a:ea typeface="+mn-ea"/>
                <a:cs typeface="+mn-cs"/>
              </a:defRPr>
            </a:lvl8pPr>
            <a:lvl9pPr marL="36573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38">
                <a:latin typeface="AP Type Pro Text" panose="020B0604020202020204" charset="0"/>
                <a:cs typeface="AP Type Pro Text Light" panose="020B0604020202020204" charset="0"/>
              </a:rPr>
              <a:t>More than </a:t>
            </a:r>
            <a:r>
              <a:rPr lang="en-US" sz="1438" b="1">
                <a:latin typeface="AP Type Pro Text" panose="020B0604020202020204" charset="0"/>
                <a:cs typeface="AP Type Pro Text Light" panose="020B0604020202020204" charset="0"/>
              </a:rPr>
              <a:t>1 in 3 </a:t>
            </a:r>
            <a:r>
              <a:rPr lang="en-US" sz="1438">
                <a:latin typeface="AP Type Pro Text" panose="020B0604020202020204" charset="0"/>
                <a:cs typeface="AP Type Pro Text Light" panose="020B0604020202020204" charset="0"/>
              </a:rPr>
              <a:t>online transactions were purchased from online marketplaces</a:t>
            </a:r>
            <a:r>
              <a:rPr lang="en-AU" sz="1438" spc="-15" baseline="57777">
                <a:latin typeface="AP Type Pro Text" panose="020B0604020202020204" charset="0"/>
                <a:cs typeface="AP Type Pro Text Light" panose="020B0604020202020204" charset="0"/>
              </a:rPr>
              <a:t>1</a:t>
            </a:r>
            <a:endParaRPr sz="1438">
              <a:latin typeface="AP Type Pro Text" panose="020B0604020202020204" charset="0"/>
              <a:cs typeface="AP Type Pro Text Light" panose="020B0604020202020204" charset="0"/>
            </a:endParaRPr>
          </a:p>
        </p:txBody>
      </p:sp>
      <p:sp>
        <p:nvSpPr>
          <p:cNvPr id="44" name="object 2">
            <a:extLst>
              <a:ext uri="{FF2B5EF4-FFF2-40B4-BE49-F238E27FC236}">
                <a16:creationId xmlns:a16="http://schemas.microsoft.com/office/drawing/2014/main" id="{237F253D-FAF4-D8E8-5ED2-0FB82DAB5163}"/>
              </a:ext>
            </a:extLst>
          </p:cNvPr>
          <p:cNvSpPr txBox="1">
            <a:spLocks/>
          </p:cNvSpPr>
          <p:nvPr/>
        </p:nvSpPr>
        <p:spPr>
          <a:xfrm>
            <a:off x="809483" y="694535"/>
            <a:ext cx="5531496" cy="584741"/>
          </a:xfrm>
          <a:prstGeom prst="rect">
            <a:avLst/>
          </a:prstGeom>
        </p:spPr>
        <p:txBody>
          <a:bodyPr vert="horz" wrap="square" lIns="0" tIns="15650" rIns="0" bIns="0" rtlCol="0" anchor="t">
            <a:spAutoFit/>
          </a:bodyPr>
          <a:lstStyle>
            <a:lvl1pPr>
              <a:defRPr sz="4005" b="1" i="0">
                <a:solidFill>
                  <a:schemeClr val="bg1"/>
                </a:solidFill>
                <a:latin typeface="AP Type Pro Display Bold"/>
                <a:ea typeface="+mj-ea"/>
                <a:cs typeface="AP Type Pro Display Bold"/>
              </a:defRPr>
            </a:lvl1pPr>
          </a:lstStyle>
          <a:p>
            <a:pPr marL="12700"/>
            <a:r>
              <a:rPr lang="en-AU" sz="3697" b="0" spc="-26">
                <a:solidFill>
                  <a:srgbClr val="000000"/>
                </a:solidFill>
                <a:latin typeface="AP Type Pro Text Medium"/>
                <a:cs typeface="AP Type Pro Text Medium"/>
              </a:rPr>
              <a:t>The Strategic </a:t>
            </a:r>
            <a:r>
              <a:rPr lang="en-AU" sz="3697" b="0" spc="-26">
                <a:solidFill>
                  <a:srgbClr val="000000"/>
                </a:solidFill>
                <a:latin typeface="AP Type Pro Text Medium"/>
              </a:rPr>
              <a:t>Shopper</a:t>
            </a:r>
          </a:p>
        </p:txBody>
      </p:sp>
      <p:sp>
        <p:nvSpPr>
          <p:cNvPr id="49" name="object 3">
            <a:extLst>
              <a:ext uri="{FF2B5EF4-FFF2-40B4-BE49-F238E27FC236}">
                <a16:creationId xmlns:a16="http://schemas.microsoft.com/office/drawing/2014/main" id="{96028E0B-FD55-06E7-09C0-757236CE4056}"/>
              </a:ext>
            </a:extLst>
          </p:cNvPr>
          <p:cNvSpPr txBox="1"/>
          <p:nvPr/>
        </p:nvSpPr>
        <p:spPr>
          <a:xfrm>
            <a:off x="843728" y="503014"/>
            <a:ext cx="2415037" cy="202772"/>
          </a:xfrm>
          <a:prstGeom prst="rect">
            <a:avLst/>
          </a:prstGeom>
        </p:spPr>
        <p:txBody>
          <a:bodyPr vert="horz" wrap="square" lIns="0" tIns="13041" rIns="0" bIns="0" rtlCol="0">
            <a:spAutoFit/>
          </a:bodyPr>
          <a:lstStyle/>
          <a:p>
            <a:pPr marL="13042">
              <a:spcBef>
                <a:spcPts val="103"/>
              </a:spcBef>
            </a:pPr>
            <a:r>
              <a:rPr lang="en-US" sz="1232">
                <a:latin typeface="AP Type Pro Text Medium"/>
                <a:cs typeface="AP Type Pro Text Medium"/>
              </a:rPr>
              <a:t>The 2023 Strategic Shopper</a:t>
            </a:r>
            <a:endParaRPr sz="1232">
              <a:latin typeface="AP Type Pro Text Medium"/>
              <a:cs typeface="AP Type Pro Text Medium"/>
            </a:endParaRPr>
          </a:p>
        </p:txBody>
      </p:sp>
      <p:sp>
        <p:nvSpPr>
          <p:cNvPr id="51" name="object 6">
            <a:extLst>
              <a:ext uri="{FF2B5EF4-FFF2-40B4-BE49-F238E27FC236}">
                <a16:creationId xmlns:a16="http://schemas.microsoft.com/office/drawing/2014/main" id="{2B6F9835-4F9B-1FE4-68B8-BAE4EB16EF5C}"/>
              </a:ext>
            </a:extLst>
          </p:cNvPr>
          <p:cNvSpPr txBox="1"/>
          <p:nvPr/>
        </p:nvSpPr>
        <p:spPr>
          <a:xfrm>
            <a:off x="874268" y="6419256"/>
            <a:ext cx="5409561" cy="174220"/>
          </a:xfrm>
          <a:prstGeom prst="rect">
            <a:avLst/>
          </a:prstGeom>
        </p:spPr>
        <p:txBody>
          <a:bodyPr vert="horz" wrap="square" lIns="0" tIns="59989" rIns="0" bIns="0" rtlCol="0">
            <a:spAutoFit/>
          </a:bodyPr>
          <a:lstStyle/>
          <a:p>
            <a:pPr marL="13040">
              <a:spcBef>
                <a:spcPts val="471"/>
              </a:spcBef>
              <a:tabLst>
                <a:tab pos="117364" algn="l"/>
              </a:tabLst>
            </a:pPr>
            <a:r>
              <a:rPr lang="en-US" sz="719" spc="-10">
                <a:latin typeface="AP Type Pro Text Light"/>
                <a:cs typeface="AP Type Pro Text Light"/>
              </a:rPr>
              <a:t>1. CommBank </a:t>
            </a:r>
            <a:r>
              <a:rPr lang="en-US" sz="719" spc="-10" err="1">
                <a:latin typeface="AP Type Pro Text Light"/>
                <a:cs typeface="AP Type Pro Text Light"/>
              </a:rPr>
              <a:t>iQ</a:t>
            </a:r>
            <a:r>
              <a:rPr lang="en-US" sz="719" spc="-10">
                <a:latin typeface="AP Type Pro Text Light"/>
                <a:cs typeface="AP Type Pro Text Light"/>
              </a:rPr>
              <a:t>, Jan 2024</a:t>
            </a:r>
            <a:endParaRPr sz="719">
              <a:latin typeface="AP Type Pro Text Light"/>
              <a:cs typeface="AP Type Pro Text Light"/>
            </a:endParaRPr>
          </a:p>
        </p:txBody>
      </p:sp>
      <p:sp>
        <p:nvSpPr>
          <p:cNvPr id="52" name="object 13">
            <a:extLst>
              <a:ext uri="{FF2B5EF4-FFF2-40B4-BE49-F238E27FC236}">
                <a16:creationId xmlns:a16="http://schemas.microsoft.com/office/drawing/2014/main" id="{544E9576-8782-F617-4358-430724E8A289}"/>
              </a:ext>
            </a:extLst>
          </p:cNvPr>
          <p:cNvSpPr txBox="1">
            <a:spLocks noGrp="1"/>
          </p:cNvSpPr>
          <p:nvPr>
            <p:ph type="ftr" sz="quarter" idx="5"/>
          </p:nvPr>
        </p:nvSpPr>
        <p:spPr>
          <a:xfrm>
            <a:off x="8965436" y="6464889"/>
            <a:ext cx="2595864" cy="158681"/>
          </a:xfrm>
          <a:prstGeom prst="rect">
            <a:avLst/>
          </a:prstGeom>
        </p:spPr>
        <p:txBody>
          <a:bodyPr vert="horz" wrap="square" lIns="0" tIns="31951" rIns="0" bIns="0" rtlCol="0">
            <a:spAutoFit/>
          </a:bodyPr>
          <a:lstStyle/>
          <a:p>
            <a:pPr marL="13042">
              <a:spcBef>
                <a:spcPts val="252"/>
              </a:spcBef>
            </a:pPr>
            <a:r>
              <a:rPr>
                <a:solidFill>
                  <a:schemeClr val="bg1"/>
                </a:solidFill>
              </a:rPr>
              <a:t>Inside</a:t>
            </a:r>
            <a:r>
              <a:rPr spc="-21">
                <a:solidFill>
                  <a:schemeClr val="bg1"/>
                </a:solidFill>
              </a:rPr>
              <a:t> </a:t>
            </a:r>
            <a:r>
              <a:rPr spc="-10">
                <a:solidFill>
                  <a:schemeClr val="bg1"/>
                </a:solidFill>
              </a:rPr>
              <a:t>Australian</a:t>
            </a:r>
            <a:r>
              <a:rPr>
                <a:solidFill>
                  <a:schemeClr val="bg1"/>
                </a:solidFill>
              </a:rPr>
              <a:t> Online</a:t>
            </a:r>
            <a:r>
              <a:rPr spc="5">
                <a:solidFill>
                  <a:schemeClr val="bg1"/>
                </a:solidFill>
              </a:rPr>
              <a:t> </a:t>
            </a:r>
            <a:r>
              <a:rPr>
                <a:solidFill>
                  <a:schemeClr val="bg1"/>
                </a:solidFill>
              </a:rPr>
              <a:t>Shopping</a:t>
            </a:r>
            <a:r>
              <a:rPr spc="288">
                <a:solidFill>
                  <a:schemeClr val="bg1"/>
                </a:solidFill>
              </a:rPr>
              <a:t> </a:t>
            </a:r>
            <a:r>
              <a:rPr>
                <a:solidFill>
                  <a:srgbClr val="DC1928"/>
                </a:solidFill>
              </a:rPr>
              <a:t>|</a:t>
            </a:r>
            <a:r>
              <a:rPr spc="267">
                <a:solidFill>
                  <a:srgbClr val="DC1928"/>
                </a:solidFill>
              </a:rPr>
              <a:t> </a:t>
            </a:r>
            <a:r>
              <a:rPr spc="-10">
                <a:solidFill>
                  <a:schemeClr val="bg1"/>
                </a:solidFill>
              </a:rPr>
              <a:t>Australia</a:t>
            </a:r>
            <a:r>
              <a:rPr>
                <a:solidFill>
                  <a:schemeClr val="bg1"/>
                </a:solidFill>
              </a:rPr>
              <a:t> Post</a:t>
            </a:r>
            <a:r>
              <a:rPr spc="288">
                <a:solidFill>
                  <a:schemeClr val="bg1"/>
                </a:solidFill>
              </a:rPr>
              <a:t> </a:t>
            </a:r>
            <a:r>
              <a:rPr>
                <a:solidFill>
                  <a:srgbClr val="DC1928"/>
                </a:solidFill>
              </a:rPr>
              <a:t>|</a:t>
            </a:r>
            <a:r>
              <a:rPr spc="293">
                <a:solidFill>
                  <a:srgbClr val="DC1928"/>
                </a:solidFill>
              </a:rPr>
              <a:t> </a:t>
            </a:r>
            <a:r>
              <a:rPr spc="-21">
                <a:solidFill>
                  <a:schemeClr val="bg1"/>
                </a:solidFill>
              </a:rPr>
              <a:t>2024</a:t>
            </a:r>
          </a:p>
        </p:txBody>
      </p:sp>
      <p:sp>
        <p:nvSpPr>
          <p:cNvPr id="53" name="object 15">
            <a:extLst>
              <a:ext uri="{FF2B5EF4-FFF2-40B4-BE49-F238E27FC236}">
                <a16:creationId xmlns:a16="http://schemas.microsoft.com/office/drawing/2014/main" id="{EB34941A-919C-8130-B737-DEFE872C3AE4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11722251" y="6446096"/>
            <a:ext cx="219092" cy="195554"/>
          </a:xfrm>
          <a:prstGeom prst="rect">
            <a:avLst/>
          </a:prstGeom>
        </p:spPr>
        <p:txBody>
          <a:bodyPr vert="horz" wrap="square" lIns="0" tIns="37168" rIns="0" bIns="0" rtlCol="0">
            <a:spAutoFit/>
          </a:bodyPr>
          <a:lstStyle/>
          <a:p>
            <a:pPr marL="39123">
              <a:spcBef>
                <a:spcPts val="293"/>
              </a:spcBef>
            </a:pPr>
            <a:fld id="{81D60167-4931-47E6-BA6A-407CBD079E47}" type="slidenum">
              <a:rPr spc="-26" dirty="0">
                <a:solidFill>
                  <a:schemeClr val="bg1"/>
                </a:solidFill>
              </a:rPr>
              <a:pPr marL="39123">
                <a:spcBef>
                  <a:spcPts val="293"/>
                </a:spcBef>
              </a:pPr>
              <a:t>7</a:t>
            </a:fld>
            <a:endParaRPr spc="-26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45556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5F6E94-6588-CAD0-890D-04D65EF21AF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 Type Text"/>
                <a:ea typeface="+mn-ea"/>
                <a:cs typeface="+mn-cs"/>
              </a:rPr>
              <a:t>©            Australia Pos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D49006-8FE2-99B8-2C0C-F68CAE74E95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 Type Text 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 Type Text Bold"/>
              <a:ea typeface="+mn-ea"/>
              <a:cs typeface="+mn-cs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34CA98B-17F4-62F6-F508-A45DC21DEFD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6C149-55E8-44FD-8F59-107338CEB417}" type="datetimeyyyy">
              <a:rPr kumimoji="0" lang="en-AU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 Type Tex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</a:t>
            </a:fld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 Type Text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7B1F4E6-C5C7-F7E1-71DB-F5821DA79C1C}"/>
              </a:ext>
            </a:extLst>
          </p:cNvPr>
          <p:cNvSpPr txBox="1"/>
          <p:nvPr/>
        </p:nvSpPr>
        <p:spPr>
          <a:xfrm>
            <a:off x="694481" y="2326511"/>
            <a:ext cx="7616142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AU" sz="8800" b="1">
                <a:latin typeface="AP Type Text" panose="020B0503030202060203" pitchFamily="34" charset="0"/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22982874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28790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USTRALIAN POST Theme1">
  <a:themeElements>
    <a:clrScheme name="AP PPT colours Aug2021">
      <a:dk1>
        <a:srgbClr val="000000"/>
      </a:dk1>
      <a:lt1>
        <a:srgbClr val="E8E8E9"/>
      </a:lt1>
      <a:dk2>
        <a:srgbClr val="63636A"/>
      </a:dk2>
      <a:lt2>
        <a:srgbClr val="212129"/>
      </a:lt2>
      <a:accent1>
        <a:srgbClr val="E6580F"/>
      </a:accent1>
      <a:accent2>
        <a:srgbClr val="DC1928"/>
      </a:accent2>
      <a:accent3>
        <a:srgbClr val="892D52"/>
      </a:accent3>
      <a:accent4>
        <a:srgbClr val="ED8C93"/>
      </a:accent4>
      <a:accent5>
        <a:srgbClr val="590D2B"/>
      </a:accent5>
      <a:accent6>
        <a:srgbClr val="B60000"/>
      </a:accent6>
      <a:hlink>
        <a:srgbClr val="B60000"/>
      </a:hlink>
      <a:folHlink>
        <a:srgbClr val="B60000"/>
      </a:folHlink>
    </a:clrScheme>
    <a:fontScheme name="AP Type Text PPT">
      <a:majorFont>
        <a:latin typeface="AP Type Text Bold"/>
        <a:ea typeface=""/>
        <a:cs typeface=""/>
      </a:majorFont>
      <a:minorFont>
        <a:latin typeface="AP Type Text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4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0000"/>
          </a:lnSpc>
          <a:spcAft>
            <a:spcPts val="600"/>
          </a:spcAft>
          <a:buSzPct val="100000"/>
          <a:defRPr sz="1400" dirty="0" err="1" smtClean="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Australia Post PPT template 16-9_v19_Aug22.potx" id="{8E35761B-9806-4921-826D-E65FCA2F39CE}" vid="{0861AF82-DDFC-4034-B8CE-C1FC9CEA3F4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AP_COLOURS">
    <a:dk1>
      <a:srgbClr val="000000"/>
    </a:dk1>
    <a:lt1>
      <a:srgbClr val="E8E8E9"/>
    </a:lt1>
    <a:dk2>
      <a:srgbClr val="63636A"/>
    </a:dk2>
    <a:lt2>
      <a:srgbClr val="212129"/>
    </a:lt2>
    <a:accent1>
      <a:srgbClr val="DC1928"/>
    </a:accent1>
    <a:accent2>
      <a:srgbClr val="C00000"/>
    </a:accent2>
    <a:accent3>
      <a:srgbClr val="590D2B"/>
    </a:accent3>
    <a:accent4>
      <a:srgbClr val="E6580F"/>
    </a:accent4>
    <a:accent5>
      <a:srgbClr val="ED8C93"/>
    </a:accent5>
    <a:accent6>
      <a:srgbClr val="892D52"/>
    </a:accent6>
    <a:hlink>
      <a:srgbClr val="C00000"/>
    </a:hlink>
    <a:folHlink>
      <a:srgbClr val="DC1928"/>
    </a:folHlink>
  </a:clrScheme>
  <a:fontScheme name="Australia Post">
    <a:majorFont>
      <a:latin typeface="AP Type Display Medium"/>
      <a:ea typeface=""/>
      <a:cs typeface=""/>
    </a:majorFont>
    <a:minorFont>
      <a:latin typeface="AP Type Text Light"/>
      <a:ea typeface=""/>
      <a:cs typeface=""/>
    </a:minorFont>
  </a:fontScheme>
  <a:fmtScheme name="PwC Effects">
    <a:fillStyleLst>
      <a:solidFill>
        <a:schemeClr val="phClr"/>
      </a:solidFill>
      <a:solidFill>
        <a:schemeClr val="phClr"/>
      </a:solidFill>
      <a:solidFill>
        <a:schemeClr val="phClr"/>
      </a:solidFill>
    </a:fillStyleLst>
    <a:lnStyleLst>
      <a:ln w="12700" cap="sq" cmpd="sng" algn="ctr">
        <a:solidFill>
          <a:schemeClr val="phClr"/>
        </a:solidFill>
        <a:prstDash val="solid"/>
      </a:ln>
      <a:ln w="12700" cap="sq" cmpd="sng" algn="ctr">
        <a:solidFill>
          <a:schemeClr val="phClr"/>
        </a:solidFill>
        <a:prstDash val="solid"/>
      </a:ln>
      <a:ln w="12700" cap="sq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127000" dist="63500" dir="2700000" algn="br" rotWithShape="0">
            <a:srgbClr val="000000">
              <a:alpha val="25000"/>
            </a:srgbClr>
          </a:outerShdw>
        </a:effectLst>
      </a:effectStyle>
    </a:effectStyleLst>
    <a:bgFillStyleLst>
      <a:solidFill>
        <a:schemeClr val="phClr"/>
      </a:solidFill>
      <a:solidFill>
        <a:schemeClr val="phClr"/>
      </a:solidFill>
      <a:solidFill>
        <a:schemeClr val="phClr"/>
      </a:soli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88EB425F58AF54688D1B0EFE19F7A69" ma:contentTypeVersion="19" ma:contentTypeDescription="Create a new document." ma:contentTypeScope="" ma:versionID="e3892703b935ba2e591f994d702b01e9">
  <xsd:schema xmlns:xsd="http://www.w3.org/2001/XMLSchema" xmlns:xs="http://www.w3.org/2001/XMLSchema" xmlns:p="http://schemas.microsoft.com/office/2006/metadata/properties" xmlns:ns2="bb5ad3e6-dcde-4831-9b77-0962a8ed2985" xmlns:ns3="a50b334d-5a8f-478f-b090-16f88f761cf8" targetNamespace="http://schemas.microsoft.com/office/2006/metadata/properties" ma:root="true" ma:fieldsID="28100491a64f274bef294ca02a0eab30" ns2:_="" ns3:_="">
    <xsd:import namespace="bb5ad3e6-dcde-4831-9b77-0962a8ed2985"/>
    <xsd:import namespace="a50b334d-5a8f-478f-b090-16f88f761cf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Number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5ad3e6-dcde-4831-9b77-0962a8ed298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Number" ma:index="20" nillable="true" ma:displayName="Number" ma:decimals="3" ma:format="Dropdown" ma:internalName="Number" ma:percentage="FALSE">
      <xsd:simpleType>
        <xsd:restriction base="dms:Number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c6d17f26-581b-4e78-9604-9ec36f29b4c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0b334d-5a8f-478f-b090-16f88f761cf8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cd76cd48-02f5-4eb2-81ab-e14b2e4db161}" ma:internalName="TaxCatchAll" ma:showField="CatchAllData" ma:web="a50b334d-5a8f-478f-b090-16f88f761cf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50b334d-5a8f-478f-b090-16f88f761cf8" xsi:nil="true"/>
    <lcf76f155ced4ddcb4097134ff3c332f xmlns="bb5ad3e6-dcde-4831-9b77-0962a8ed2985">
      <Terms xmlns="http://schemas.microsoft.com/office/infopath/2007/PartnerControls"/>
    </lcf76f155ced4ddcb4097134ff3c332f>
    <SharedWithUsers xmlns="a50b334d-5a8f-478f-b090-16f88f761cf8">
      <UserInfo>
        <DisplayName>THOMPSON, Lauren</DisplayName>
        <AccountId>436</AccountId>
        <AccountType/>
      </UserInfo>
      <UserInfo>
        <DisplayName>SharingLinks.bd708be8-3e02-439a-9e2c-37242d746c28.OrganizationEdit.da13efd3-d553-4b6c-90b1-2a018071d869</DisplayName>
        <AccountId>433</AccountId>
        <AccountType/>
      </UserInfo>
      <UserInfo>
        <DisplayName>FITTER, Leshea</DisplayName>
        <AccountId>435</AccountId>
        <AccountType/>
      </UserInfo>
      <UserInfo>
        <DisplayName>SharingLinks.da90bbc1-391f-421a-97f0-a2d69fe32901.Flexible.26492196-6a18-4a14-a229-502f4cbaa3ca</DisplayName>
        <AccountId>582</AccountId>
        <AccountType/>
      </UserInfo>
      <UserInfo>
        <DisplayName>Rawlins, Narelle</DisplayName>
        <AccountId>581</AccountId>
        <AccountType/>
      </UserInfo>
      <UserInfo>
        <DisplayName>SharingLinks.0fd92302-dcf7-488a-bed7-d8656de21df4.Flexible.a4e4d348-12ff-425f-bc78-7d9ea538b510</DisplayName>
        <AccountId>434</AccountId>
        <AccountType/>
      </UserInfo>
      <UserInfo>
        <DisplayName>GLOVER, Sally</DisplayName>
        <AccountId>26</AccountId>
        <AccountType/>
      </UserInfo>
      <UserInfo>
        <DisplayName>PARKER, Elise</DisplayName>
        <AccountId>27</AccountId>
        <AccountType/>
      </UserInfo>
      <UserInfo>
        <DisplayName>KURNIAWAN, Edwin</DisplayName>
        <AccountId>4362</AccountId>
        <AccountType/>
      </UserInfo>
      <UserInfo>
        <DisplayName>Starr, Gary</DisplayName>
        <AccountId>104</AccountId>
        <AccountType/>
      </UserInfo>
      <UserInfo>
        <DisplayName>Nielipowiec, Mandi</DisplayName>
        <AccountId>46</AccountId>
        <AccountType/>
      </UserInfo>
      <UserInfo>
        <DisplayName>MACLEOD, Stewart</DisplayName>
        <AccountId>49</AccountId>
        <AccountType/>
      </UserInfo>
      <UserInfo>
        <DisplayName>MEAGHER, Gemma</DisplayName>
        <AccountId>28</AccountId>
        <AccountType/>
      </UserInfo>
      <UserInfo>
        <DisplayName>Beames, Jemma</DisplayName>
        <AccountId>32</AccountId>
        <AccountType/>
      </UserInfo>
      <UserInfo>
        <DisplayName>Yip, Rose</DisplayName>
        <AccountId>681</AccountId>
        <AccountType/>
      </UserInfo>
      <UserInfo>
        <DisplayName>White, Soren</DisplayName>
        <AccountId>152</AccountId>
        <AccountType/>
      </UserInfo>
      <UserInfo>
        <DisplayName>LIM, Jui-i</DisplayName>
        <AccountId>1134</AccountId>
        <AccountType/>
      </UserInfo>
      <UserInfo>
        <DisplayName>GOKHALE, Prasad</DisplayName>
        <AccountId>576</AccountId>
        <AccountType/>
      </UserInfo>
      <UserInfo>
        <DisplayName>Bui, Phu</DisplayName>
        <AccountId>6164</AccountId>
        <AccountType/>
      </UserInfo>
      <UserInfo>
        <DisplayName>Plant, Shane</DisplayName>
        <AccountId>628</AccountId>
        <AccountType/>
      </UserInfo>
    </SharedWithUsers>
    <MediaLengthInSeconds xmlns="bb5ad3e6-dcde-4831-9b77-0962a8ed2985" xsi:nil="true"/>
    <Number xmlns="bb5ad3e6-dcde-4831-9b77-0962a8ed298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1C575D7-CEAA-435B-B5BD-4464857EFA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b5ad3e6-dcde-4831-9b77-0962a8ed2985"/>
    <ds:schemaRef ds:uri="a50b334d-5a8f-478f-b090-16f88f761cf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E74B3D9-25A2-4573-BD8F-5ECFA837D0DA}">
  <ds:schemaRefs>
    <ds:schemaRef ds:uri="03892ebb-e7bc-4985-b3d8-95d976dc2d9c"/>
    <ds:schemaRef ds:uri="803ac6f0-f951-4b3c-be50-71ba43cc38f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a50b334d-5a8f-478f-b090-16f88f761cf8"/>
    <ds:schemaRef ds:uri="bb5ad3e6-dcde-4831-9b77-0962a8ed2985"/>
  </ds:schemaRefs>
</ds:datastoreItem>
</file>

<file path=customXml/itemProps3.xml><?xml version="1.0" encoding="utf-8"?>
<ds:datastoreItem xmlns:ds="http://schemas.openxmlformats.org/officeDocument/2006/customXml" ds:itemID="{47AEBE63-404D-4768-BB0F-F93A334EB38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13</Words>
  <Application>Microsoft Office PowerPoint</Application>
  <PresentationFormat>Custom</PresentationFormat>
  <Paragraphs>159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3" baseType="lpstr">
      <vt:lpstr>AP Type Display Medium</vt:lpstr>
      <vt:lpstr>AP Type Pro Text Light</vt:lpstr>
      <vt:lpstr>AP Type Text Bold</vt:lpstr>
      <vt:lpstr>Roboto</vt:lpstr>
      <vt:lpstr>AP Type Pro Display Regular</vt:lpstr>
      <vt:lpstr>AP Type Pro Display Bold</vt:lpstr>
      <vt:lpstr>Arial</vt:lpstr>
      <vt:lpstr>AP Type Pro Text Medium</vt:lpstr>
      <vt:lpstr>Wingdings</vt:lpstr>
      <vt:lpstr>AP Type Text</vt:lpstr>
      <vt:lpstr>Calibri</vt:lpstr>
      <vt:lpstr>AP Type Pro Text</vt:lpstr>
      <vt:lpstr>AUSTRALIAN POST Theme1</vt:lpstr>
      <vt:lpstr>think-cell Slide</vt:lpstr>
      <vt:lpstr>The State of eCommerce 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GO, Phillip</dc:creator>
  <cp:lastModifiedBy>Nathalie  Rosette-Barber</cp:lastModifiedBy>
  <cp:revision>1</cp:revision>
  <dcterms:created xsi:type="dcterms:W3CDTF">2024-02-23T00:26:10Z</dcterms:created>
  <dcterms:modified xsi:type="dcterms:W3CDTF">2024-04-16T03:37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4-02-23T00:00:00Z</vt:filetime>
  </property>
  <property fmtid="{D5CDD505-2E9C-101B-9397-08002B2CF9AE}" pid="3" name="Creator">
    <vt:lpwstr>Adobe InDesign 19.1 (Macintosh)</vt:lpwstr>
  </property>
  <property fmtid="{D5CDD505-2E9C-101B-9397-08002B2CF9AE}" pid="4" name="LastSaved">
    <vt:filetime>2024-02-23T00:00:00Z</vt:filetime>
  </property>
  <property fmtid="{D5CDD505-2E9C-101B-9397-08002B2CF9AE}" pid="5" name="Producer">
    <vt:lpwstr>Adobe PDF Library 17.0</vt:lpwstr>
  </property>
  <property fmtid="{D5CDD505-2E9C-101B-9397-08002B2CF9AE}" pid="6" name="MediaServiceImageTags">
    <vt:lpwstr/>
  </property>
  <property fmtid="{D5CDD505-2E9C-101B-9397-08002B2CF9AE}" pid="7" name="ContentTypeId">
    <vt:lpwstr>0x010100388EB425F58AF54688D1B0EFE19F7A69</vt:lpwstr>
  </property>
  <property fmtid="{D5CDD505-2E9C-101B-9397-08002B2CF9AE}" pid="8" name="ComplianceAssetId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</Properties>
</file>